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1"/>
  </p:notesMasterIdLst>
  <p:handoutMasterIdLst>
    <p:handoutMasterId r:id="rId22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23" r:id="rId19"/>
    <p:sldId id="368" r:id="rId20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303" dt="2018-10-29T09:41:02.039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07" autoAdjust="0"/>
    <p:restoredTop sz="83897" autoAdjust="0"/>
  </p:normalViewPr>
  <p:slideViewPr>
    <p:cSldViewPr snapToObjects="1" showGuides="1">
      <p:cViewPr varScale="1">
        <p:scale>
          <a:sx n="88" d="100"/>
          <a:sy n="88" d="100"/>
        </p:scale>
        <p:origin x="1302" y="96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custSel addSld delSld modSld">
      <pc:chgData name="David Stevens" userId="73fe415a-d21a-4898-bfab-0e75d37181d7" providerId="ADAL" clId="{A55558DF-111D-4D77-9A1C-537E622CF8A6}" dt="2018-10-29T09:41:02.037" v="313"/>
      <pc:docMkLst>
        <pc:docMk/>
      </pc:docMkLst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376542680" sldId="311"/>
        </pc:sldMkLst>
        <pc:spChg chg="mod">
          <ac:chgData name="David Stevens" userId="73fe415a-d21a-4898-bfab-0e75d37181d7" providerId="ADAL" clId="{A55558DF-111D-4D77-9A1C-537E622CF8A6}" dt="2018-09-05T06:47:11.674" v="131" actId="113"/>
          <ac:spMkLst>
            <pc:docMk/>
            <pc:sldMk cId="3376542680" sldId="311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243449791" sldId="312"/>
        </pc:sldMkLst>
        <pc:spChg chg="mod">
          <ac:chgData name="David Stevens" userId="73fe415a-d21a-4898-bfab-0e75d37181d7" providerId="ADAL" clId="{A55558DF-111D-4D77-9A1C-537E622CF8A6}" dt="2018-09-05T06:48:05.026" v="197" actId="113"/>
          <ac:spMkLst>
            <pc:docMk/>
            <pc:sldMk cId="3243449791" sldId="312"/>
            <ac:spMk id="7" creationId="{00000000-0000-0000-0000-000000000000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3588648629" sldId="323"/>
        </pc:sldMkLst>
        <pc:spChg chg="mod">
          <ac:chgData name="David Stevens" userId="73fe415a-d21a-4898-bfab-0e75d37181d7" providerId="ADAL" clId="{A55558DF-111D-4D77-9A1C-537E622CF8A6}" dt="2018-09-05T06:48:38.050" v="211" actId="20577"/>
          <ac:spMkLst>
            <pc:docMk/>
            <pc:sldMk cId="3588648629" sldId="323"/>
            <ac:spMk id="4" creationId="{00000000-0000-0000-0000-000000000000}"/>
          </ac:spMkLst>
        </pc:spChg>
      </pc:sldChg>
      <pc:sldChg chg="addSp delSp modSp">
        <pc:chgData name="David Stevens" userId="73fe415a-d21a-4898-bfab-0e75d37181d7" providerId="ADAL" clId="{A55558DF-111D-4D77-9A1C-537E622CF8A6}" dt="2018-09-05T06:51:30.738" v="251" actId="12788"/>
        <pc:sldMkLst>
          <pc:docMk/>
          <pc:sldMk cId="4154490227" sldId="339"/>
        </pc:sldMkLst>
        <pc:spChg chg="mod">
          <ac:chgData name="David Stevens" userId="73fe415a-d21a-4898-bfab-0e75d37181d7" providerId="ADAL" clId="{A55558DF-111D-4D77-9A1C-537E622CF8A6}" dt="2018-09-05T06:48:50.538" v="215" actId="20577"/>
          <ac:spMkLst>
            <pc:docMk/>
            <pc:sldMk cId="4154490227" sldId="339"/>
            <ac:spMk id="2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8:59.506" v="227" actId="20577"/>
          <ac:spMkLst>
            <pc:docMk/>
            <pc:sldMk cId="4154490227" sldId="339"/>
            <ac:spMk id="10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9:08.995" v="237" actId="20577"/>
          <ac:spMkLst>
            <pc:docMk/>
            <pc:sldMk cId="4154490227" sldId="339"/>
            <ac:spMk id="12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9:11.970" v="241" actId="20577"/>
          <ac:spMkLst>
            <pc:docMk/>
            <pc:sldMk cId="4154490227" sldId="339"/>
            <ac:spMk id="1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8:56.146" v="223" actId="20577"/>
          <ac:spMkLst>
            <pc:docMk/>
            <pc:sldMk cId="4154490227" sldId="339"/>
            <ac:spMk id="27" creationId="{073CC001-0438-43CE-80C7-A26ABB6E8777}"/>
          </ac:spMkLst>
        </pc:spChg>
        <pc:spChg chg="mod topLvl">
          <ac:chgData name="David Stevens" userId="73fe415a-d21a-4898-bfab-0e75d37181d7" providerId="ADAL" clId="{A55558DF-111D-4D77-9A1C-537E622CF8A6}" dt="2018-09-05T06:51:16.970" v="249" actId="165"/>
          <ac:spMkLst>
            <pc:docMk/>
            <pc:sldMk cId="4154490227" sldId="339"/>
            <ac:spMk id="28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8:53.666" v="219" actId="20577"/>
          <ac:spMkLst>
            <pc:docMk/>
            <pc:sldMk cId="4154490227" sldId="339"/>
            <ac:spMk id="31" creationId="{C59E2360-291C-4D93-A678-D01351E9B6BD}"/>
          </ac:spMkLst>
        </pc:spChg>
        <pc:spChg chg="mod topLvl">
          <ac:chgData name="David Stevens" userId="73fe415a-d21a-4898-bfab-0e75d37181d7" providerId="ADAL" clId="{A55558DF-111D-4D77-9A1C-537E622CF8A6}" dt="2018-09-05T06:51:16.970" v="249" actId="165"/>
          <ac:spMkLst>
            <pc:docMk/>
            <pc:sldMk cId="4154490227" sldId="339"/>
            <ac:spMk id="43" creationId="{43B26967-0DCE-44AC-8425-6BF15224FEE5}"/>
          </ac:spMkLst>
        </pc:spChg>
        <pc:spChg chg="mod">
          <ac:chgData name="David Stevens" userId="73fe415a-d21a-4898-bfab-0e75d37181d7" providerId="ADAL" clId="{A55558DF-111D-4D77-9A1C-537E622CF8A6}" dt="2018-09-05T06:51:30.738" v="251" actId="12788"/>
          <ac:spMkLst>
            <pc:docMk/>
            <pc:sldMk cId="4154490227" sldId="339"/>
            <ac:spMk id="45" creationId="{C38A555D-B275-4A12-BB23-0F37D85E72F5}"/>
          </ac:spMkLst>
        </pc:spChg>
        <pc:spChg chg="mod">
          <ac:chgData name="David Stevens" userId="73fe415a-d21a-4898-bfab-0e75d37181d7" providerId="ADAL" clId="{A55558DF-111D-4D77-9A1C-537E622CF8A6}" dt="2018-09-05T06:51:23.971" v="250" actId="12788"/>
          <ac:spMkLst>
            <pc:docMk/>
            <pc:sldMk cId="4154490227" sldId="339"/>
            <ac:spMk id="5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8-09-05T06:51:16.970" v="249" actId="165"/>
          <ac:spMkLst>
            <pc:docMk/>
            <pc:sldMk cId="4154490227" sldId="339"/>
            <ac:spMk id="51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51:30.738" v="251" actId="12788"/>
          <ac:spMkLst>
            <pc:docMk/>
            <pc:sldMk cId="4154490227" sldId="339"/>
            <ac:spMk id="52" creationId="{00000000-0000-0000-0000-000000000000}"/>
          </ac:spMkLst>
        </pc:spChg>
        <pc:grpChg chg="add del mod">
          <ac:chgData name="David Stevens" userId="73fe415a-d21a-4898-bfab-0e75d37181d7" providerId="ADAL" clId="{A55558DF-111D-4D77-9A1C-537E622CF8A6}" dt="2018-09-05T06:51:16.970" v="249" actId="165"/>
          <ac:grpSpMkLst>
            <pc:docMk/>
            <pc:sldMk cId="4154490227" sldId="339"/>
            <ac:grpSpMk id="3" creationId="{AC8D5F4C-993A-424B-B977-CF4789BDC437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14" creationId="{00000000-0000-0000-0000-000000000000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15" creationId="{00000000-0000-0000-0000-000000000000}"/>
          </ac:grpSpMkLst>
        </pc:grpChg>
        <pc:grpChg chg="mod">
          <ac:chgData name="David Stevens" userId="73fe415a-d21a-4898-bfab-0e75d37181d7" providerId="ADAL" clId="{A55558DF-111D-4D77-9A1C-537E622CF8A6}" dt="2018-09-05T06:51:30.738" v="251" actId="12788"/>
          <ac:grpSpMkLst>
            <pc:docMk/>
            <pc:sldMk cId="4154490227" sldId="339"/>
            <ac:grpSpMk id="18" creationId="{00000000-0000-0000-0000-000000000000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23" creationId="{30B1AE06-204B-4BE5-8CBD-3012BAEE4FD0}"/>
          </ac:grpSpMkLst>
        </pc:grpChg>
        <pc:grpChg chg="mod topLvl">
          <ac:chgData name="David Stevens" userId="73fe415a-d21a-4898-bfab-0e75d37181d7" providerId="ADAL" clId="{A55558DF-111D-4D77-9A1C-537E622CF8A6}" dt="2018-09-05T06:51:16.970" v="249" actId="165"/>
          <ac:grpSpMkLst>
            <pc:docMk/>
            <pc:sldMk cId="4154490227" sldId="339"/>
            <ac:grpSpMk id="25" creationId="{C13DBA72-9C06-4726-9FFD-368097AA5C46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34" creationId="{424F4695-B8B7-4782-9E2E-9E9FB8A13371}"/>
          </ac:grpSpMkLst>
        </pc:grpChg>
        <pc:picChg chg="mod">
          <ac:chgData name="David Stevens" userId="73fe415a-d21a-4898-bfab-0e75d37181d7" providerId="ADAL" clId="{A55558DF-111D-4D77-9A1C-537E622CF8A6}" dt="2018-09-05T06:51:23.971" v="250" actId="12788"/>
          <ac:picMkLst>
            <pc:docMk/>
            <pc:sldMk cId="4154490227" sldId="339"/>
            <ac:picMk id="4" creationId="{EF62A70A-91F0-49C4-B29E-0D0FB50E7313}"/>
          </ac:picMkLst>
        </pc:picChg>
        <pc:picChg chg="mod">
          <ac:chgData name="David Stevens" userId="73fe415a-d21a-4898-bfab-0e75d37181d7" providerId="ADAL" clId="{A55558DF-111D-4D77-9A1C-537E622CF8A6}" dt="2018-09-05T06:51:30.738" v="251" actId="12788"/>
          <ac:picMkLst>
            <pc:docMk/>
            <pc:sldMk cId="4154490227" sldId="339"/>
            <ac:picMk id="9" creationId="{6D38D053-16AC-4E87-BF1F-C42CA8887CB2}"/>
          </ac:picMkLst>
        </pc:picChg>
        <pc:picChg chg="mod topLvl">
          <ac:chgData name="David Stevens" userId="73fe415a-d21a-4898-bfab-0e75d37181d7" providerId="ADAL" clId="{A55558DF-111D-4D77-9A1C-537E622CF8A6}" dt="2018-09-05T06:51:16.970" v="249" actId="165"/>
          <ac:picMkLst>
            <pc:docMk/>
            <pc:sldMk cId="4154490227" sldId="339"/>
            <ac:picMk id="59" creationId="{47DE2E87-7B6E-4CE2-B2BC-FC9E25EADABB}"/>
          </ac:picMkLst>
        </pc:picChg>
        <pc:cxnChg chg="mod">
          <ac:chgData name="David Stevens" userId="73fe415a-d21a-4898-bfab-0e75d37181d7" providerId="ADAL" clId="{A55558DF-111D-4D77-9A1C-537E622CF8A6}" dt="2018-09-05T06:51:23.971" v="250" actId="12788"/>
          <ac:cxnSpMkLst>
            <pc:docMk/>
            <pc:sldMk cId="4154490227" sldId="339"/>
            <ac:cxnSpMk id="32" creationId="{9104CA70-A905-4AD9-ACB0-6CA81A2186A8}"/>
          </ac:cxnSpMkLst>
        </pc:cxnChg>
        <pc:cxnChg chg="mod topLvl">
          <ac:chgData name="David Stevens" userId="73fe415a-d21a-4898-bfab-0e75d37181d7" providerId="ADAL" clId="{A55558DF-111D-4D77-9A1C-537E622CF8A6}" dt="2018-09-05T06:51:16.970" v="249" actId="165"/>
          <ac:cxnSpMkLst>
            <pc:docMk/>
            <pc:sldMk cId="4154490227" sldId="339"/>
            <ac:cxnSpMk id="33" creationId="{622A786F-E78F-42BB-BBDC-30B76252B062}"/>
          </ac:cxnSpMkLst>
        </pc:cxnChg>
        <pc:cxnChg chg="mod">
          <ac:chgData name="David Stevens" userId="73fe415a-d21a-4898-bfab-0e75d37181d7" providerId="ADAL" clId="{A55558DF-111D-4D77-9A1C-537E622CF8A6}" dt="2018-09-05T06:51:30.738" v="251" actId="12788"/>
          <ac:cxnSpMkLst>
            <pc:docMk/>
            <pc:sldMk cId="4154490227" sldId="339"/>
            <ac:cxnSpMk id="36" creationId="{86CC7F60-55C0-4421-B882-FA3A87E938AD}"/>
          </ac:cxnSpMkLst>
        </pc:cxnChg>
        <pc:cxnChg chg="mod">
          <ac:chgData name="David Stevens" userId="73fe415a-d21a-4898-bfab-0e75d37181d7" providerId="ADAL" clId="{A55558DF-111D-4D77-9A1C-537E622CF8A6}" dt="2018-09-05T06:51:23.971" v="250" actId="12788"/>
          <ac:cxnSpMkLst>
            <pc:docMk/>
            <pc:sldMk cId="4154490227" sldId="339"/>
            <ac:cxnSpMk id="44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8-09-05T06:51:16.970" v="249" actId="165"/>
          <ac:cxnSpMkLst>
            <pc:docMk/>
            <pc:sldMk cId="4154490227" sldId="339"/>
            <ac:cxnSpMk id="47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8-09-05T06:51:30.738" v="251" actId="12788"/>
          <ac:cxnSpMkLst>
            <pc:docMk/>
            <pc:sldMk cId="4154490227" sldId="339"/>
            <ac:cxnSpMk id="48" creationId="{00000000-0000-0000-0000-000000000000}"/>
          </ac:cxnSpMkLst>
        </pc:cxnChg>
      </pc:sldChg>
      <pc:sldChg chg="delSp modSp add del">
        <pc:chgData name="David Stevens" userId="73fe415a-d21a-4898-bfab-0e75d37181d7" providerId="ADAL" clId="{A55558DF-111D-4D77-9A1C-537E622CF8A6}" dt="2018-10-29T09:41:02.037" v="313"/>
        <pc:sldMkLst>
          <pc:docMk/>
          <pc:sldMk cId="2845522511" sldId="340"/>
        </pc:sldMkLst>
        <pc:spChg chg="mod">
          <ac:chgData name="David Stevens" userId="73fe415a-d21a-4898-bfab-0e75d37181d7" providerId="ADAL" clId="{A55558DF-111D-4D77-9A1C-537E622CF8A6}" dt="2018-09-05T06:47:29.018" v="150" actId="20577"/>
          <ac:spMkLst>
            <pc:docMk/>
            <pc:sldMk cId="2845522511" sldId="340"/>
            <ac:spMk id="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6:59.715" v="92" actId="113"/>
          <ac:spMkLst>
            <pc:docMk/>
            <pc:sldMk cId="2845522511" sldId="340"/>
            <ac:spMk id="7" creationId="{00000000-0000-0000-0000-000000000000}"/>
          </ac:spMkLst>
        </pc:spChg>
        <pc:picChg chg="mod">
          <ac:chgData name="David Stevens" userId="73fe415a-d21a-4898-bfab-0e75d37181d7" providerId="ADAL" clId="{A55558DF-111D-4D77-9A1C-537E622CF8A6}" dt="2018-09-05T06:47:22.618" v="134" actId="1076"/>
          <ac:picMkLst>
            <pc:docMk/>
            <pc:sldMk cId="2845522511" sldId="340"/>
            <ac:picMk id="5" creationId="{ABB9CFFA-78C7-41D7-8C2C-647E78E4839F}"/>
          </ac:picMkLst>
        </pc:picChg>
        <pc:picChg chg="mod">
          <ac:chgData name="David Stevens" userId="73fe415a-d21a-4898-bfab-0e75d37181d7" providerId="ADAL" clId="{A55558DF-111D-4D77-9A1C-537E622CF8A6}" dt="2018-09-05T06:47:21.417" v="133" actId="1076"/>
          <ac:picMkLst>
            <pc:docMk/>
            <pc:sldMk cId="2845522511" sldId="340"/>
            <ac:picMk id="9" creationId="{C8F38312-B576-4A06-963E-CC5F89679143}"/>
          </ac:picMkLst>
        </pc:picChg>
        <pc:picChg chg="del">
          <ac:chgData name="David Stevens" userId="73fe415a-d21a-4898-bfab-0e75d37181d7" providerId="ADAL" clId="{A55558DF-111D-4D77-9A1C-537E622CF8A6}" dt="2018-09-05T06:47:18.610" v="132" actId="478"/>
          <ac:picMkLst>
            <pc:docMk/>
            <pc:sldMk cId="2845522511" sldId="340"/>
            <ac:picMk id="12" creationId="{A46B1C54-7B87-4CF1-A2D6-51AC7350011E}"/>
          </ac:picMkLst>
        </pc:picChg>
      </pc:sldChg>
      <pc:sldChg chg="modSp modNotesTx">
        <pc:chgData name="David Stevens" userId="73fe415a-d21a-4898-bfab-0e75d37181d7" providerId="ADAL" clId="{A55558DF-111D-4D77-9A1C-537E622CF8A6}" dt="2018-09-05T06:45:53.947" v="50" actId="6549"/>
        <pc:sldMkLst>
          <pc:docMk/>
          <pc:sldMk cId="2041146489" sldId="353"/>
        </pc:sldMkLst>
        <pc:spChg chg="mod">
          <ac:chgData name="David Stevens" userId="73fe415a-d21a-4898-bfab-0e75d37181d7" providerId="ADAL" clId="{A55558DF-111D-4D77-9A1C-537E622CF8A6}" dt="2018-09-05T06:45:29.715" v="14" actId="20577"/>
          <ac:spMkLst>
            <pc:docMk/>
            <pc:sldMk cId="2041146489" sldId="353"/>
            <ac:spMk id="17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45:36.996" v="15"/>
        <pc:sldMkLst>
          <pc:docMk/>
          <pc:sldMk cId="3318126158" sldId="354"/>
        </pc:sldMkLst>
        <pc:spChg chg="mod">
          <ac:chgData name="David Stevens" userId="73fe415a-d21a-4898-bfab-0e75d37181d7" providerId="ADAL" clId="{A55558DF-111D-4D77-9A1C-537E622CF8A6}" dt="2018-09-05T06:45:36.996" v="15"/>
          <ac:spMkLst>
            <pc:docMk/>
            <pc:sldMk cId="3318126158" sldId="354"/>
            <ac:spMk id="96" creationId="{B1A70994-E4E7-4C04-90CB-0DD2FDB202B5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099374328" sldId="360"/>
        </pc:sldMkLst>
        <pc:spChg chg="mod">
          <ac:chgData name="David Stevens" userId="73fe415a-d21a-4898-bfab-0e75d37181d7" providerId="ADAL" clId="{A55558DF-111D-4D77-9A1C-537E622CF8A6}" dt="2018-09-05T06:47:48.810" v="180" actId="20577"/>
          <ac:spMkLst>
            <pc:docMk/>
            <pc:sldMk cId="1099374328" sldId="360"/>
            <ac:spMk id="7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52:37.035" v="301" actId="40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</pc:sldChg>
      <pc:sldChg chg="modSp del">
        <pc:chgData name="David Stevens" userId="73fe415a-d21a-4898-bfab-0e75d37181d7" providerId="ADAL" clId="{A55558DF-111D-4D77-9A1C-537E622CF8A6}" dt="2018-10-29T09:41:00.387" v="310" actId="2696"/>
        <pc:sldMkLst>
          <pc:docMk/>
          <pc:sldMk cId="3432541956" sldId="362"/>
        </pc:sldMkLst>
        <pc:spChg chg="mod">
          <ac:chgData name="David Stevens" userId="73fe415a-d21a-4898-bfab-0e75d37181d7" providerId="ADAL" clId="{A55558DF-111D-4D77-9A1C-537E622CF8A6}" dt="2018-09-05T06:48:27.618" v="207" actId="20577"/>
          <ac:spMkLst>
            <pc:docMk/>
            <pc:sldMk cId="3432541956" sldId="362"/>
            <ac:spMk id="7" creationId="{00000000-0000-0000-0000-000000000000}"/>
          </ac:spMkLst>
        </pc:spChg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4155045021" sldId="367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1763998629" sldId="368"/>
        </pc:sldMkLst>
      </pc:sldChg>
      <pc:sldChg chg="add del">
        <pc:chgData name="David Stevens" userId="73fe415a-d21a-4898-bfab-0e75d37181d7" providerId="ADAL" clId="{A55558DF-111D-4D77-9A1C-537E622CF8A6}" dt="2018-10-29T09:41:02.037" v="313"/>
        <pc:sldMkLst>
          <pc:docMk/>
          <pc:sldMk cId="3275646761" sldId="370"/>
        </pc:sldMkLst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995556626" sldId="371"/>
        </pc:sldMkLst>
        <pc:spChg chg="mod">
          <ac:chgData name="David Stevens" userId="73fe415a-d21a-4898-bfab-0e75d37181d7" providerId="ADAL" clId="{A55558DF-111D-4D77-9A1C-537E622CF8A6}" dt="2018-09-05T06:47:38.522" v="162" actId="20577"/>
          <ac:spMkLst>
            <pc:docMk/>
            <pc:sldMk cId="1995556626" sldId="371"/>
            <ac:spMk id="2" creationId="{A5C7DB99-8890-475C-8549-1850515B19FD}"/>
          </ac:spMkLst>
        </pc:spChg>
      </pc:sldChg>
      <pc:sldChg chg="modSp add del">
        <pc:chgData name="David Stevens" userId="73fe415a-d21a-4898-bfab-0e75d37181d7" providerId="ADAL" clId="{A55558DF-111D-4D77-9A1C-537E622CF8A6}" dt="2018-10-29T09:41:02.037" v="313"/>
        <pc:sldMkLst>
          <pc:docMk/>
          <pc:sldMk cId="1625369086" sldId="372"/>
        </pc:sldMkLst>
        <pc:spChg chg="mod">
          <ac:chgData name="David Stevens" userId="73fe415a-d21a-4898-bfab-0e75d37181d7" providerId="ADAL" clId="{A55558DF-111D-4D77-9A1C-537E622CF8A6}" dt="2018-09-05T06:48:17.467" v="199" actId="113"/>
          <ac:spMkLst>
            <pc:docMk/>
            <pc:sldMk cId="1625369086" sldId="372"/>
            <ac:spMk id="2" creationId="{A5C7DB99-8890-475C-8549-1850515B19FD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10/29/2018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10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October 29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October 29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October 29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October 29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October 29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October 2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October 29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October 29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October 29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619757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5007089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6412217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842992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5038283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4C3E76E-BA13-4F4C-AF1B-53141CC966D4}"/>
              </a:ext>
            </a:extLst>
          </p:cNvPr>
          <p:cNvGrpSpPr/>
          <p:nvPr/>
        </p:nvGrpSpPr>
        <p:grpSpPr>
          <a:xfrm>
            <a:off x="10151202" y="4347631"/>
            <a:ext cx="2623384" cy="2507900"/>
            <a:chOff x="10151202" y="4347631"/>
            <a:chExt cx="2623384" cy="250790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8EBD0B-5F5A-407E-BBBA-9B38D55E6A64}"/>
              </a:ext>
            </a:extLst>
          </p:cNvPr>
          <p:cNvGrpSpPr/>
          <p:nvPr/>
        </p:nvGrpSpPr>
        <p:grpSpPr>
          <a:xfrm>
            <a:off x="2394053" y="5001268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85105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Enabler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A1C4C40-E52F-477D-87FC-76CA621FA760}"/>
              </a:ext>
            </a:extLst>
          </p:cNvPr>
          <p:cNvGrpSpPr/>
          <p:nvPr/>
        </p:nvGrpSpPr>
        <p:grpSpPr>
          <a:xfrm>
            <a:off x="3550072" y="1042765"/>
            <a:ext cx="3732943" cy="5878913"/>
            <a:chOff x="3550072" y="1042765"/>
            <a:chExt cx="3732943" cy="5878913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4474637" y="1042765"/>
              <a:ext cx="19069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Shape</a:t>
              </a:r>
            </a:p>
          </p:txBody>
        </p: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4" name="Group 83"/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74637" y="1724265"/>
              <a:ext cx="1908000" cy="1908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2B7451-9EF0-41E8-A63A-DD75C5C7CE93}"/>
              </a:ext>
            </a:extLst>
          </p:cNvPr>
          <p:cNvGrpSpPr/>
          <p:nvPr/>
        </p:nvGrpSpPr>
        <p:grpSpPr>
          <a:xfrm>
            <a:off x="8191609" y="1040409"/>
            <a:ext cx="2520758" cy="6350186"/>
            <a:chOff x="8191609" y="1040409"/>
            <a:chExt cx="2520758" cy="6350186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0D043C-33DC-4A3E-AB75-1177A2BB86DA}"/>
                </a:ext>
              </a:extLst>
            </p:cNvPr>
            <p:cNvGrpSpPr/>
            <p:nvPr/>
          </p:nvGrpSpPr>
          <p:grpSpPr>
            <a:xfrm>
              <a:off x="8191609" y="1040409"/>
              <a:ext cx="2520758" cy="6350186"/>
              <a:chOff x="8191609" y="1040409"/>
              <a:chExt cx="2520758" cy="6350186"/>
            </a:xfrm>
          </p:grpSpPr>
          <p:grpSp>
            <p:nvGrpSpPr>
              <p:cNvPr id="35" name="Group 34"/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Goal</a:t>
                  </a:r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Offerings</a:t>
                  </a:r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Partners</a:t>
                  </a:r>
                </a:p>
              </p:txBody>
            </p:sp>
            <p:sp>
              <p:nvSpPr>
                <p:cNvPr id="43" name="Oval 42"/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Client CMO</a:t>
                  </a:r>
                </a:p>
              </p:txBody>
            </p:sp>
          </p:grpSp>
          <p:sp>
            <p:nvSpPr>
              <p:cNvPr id="51" name="TextBox 50"/>
              <p:cNvSpPr txBox="1"/>
              <p:nvPr/>
            </p:nvSpPr>
            <p:spPr>
              <a:xfrm>
                <a:off x="8499805" y="1040409"/>
                <a:ext cx="190951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400" dirty="0"/>
                  <a:t>Build</a:t>
                </a:r>
              </a:p>
            </p:txBody>
          </p:sp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624461" y="1674014"/>
                <a:ext cx="1739126" cy="1739126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B4A7DAA-F4DD-4FE8-9A63-5952ACC54A04}"/>
              </a:ext>
            </a:extLst>
          </p:cNvPr>
          <p:cNvGrpSpPr/>
          <p:nvPr/>
        </p:nvGrpSpPr>
        <p:grpSpPr>
          <a:xfrm>
            <a:off x="11615659" y="1040409"/>
            <a:ext cx="2736976" cy="6062532"/>
            <a:chOff x="11615659" y="1040409"/>
            <a:chExt cx="2736976" cy="6062532"/>
          </a:xfrm>
        </p:grpSpPr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1819827" y="1040409"/>
              <a:ext cx="1909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Harvest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097971" y="1956265"/>
              <a:ext cx="1341343" cy="1341343"/>
            </a:xfrm>
            <a:prstGeom prst="rect">
              <a:avLst/>
            </a:prstGeom>
          </p:spPr>
        </p:pic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Goal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" name="Group 1079">
            <a:extLst>
              <a:ext uri="{FF2B5EF4-FFF2-40B4-BE49-F238E27FC236}">
                <a16:creationId xmlns:a16="http://schemas.microsoft.com/office/drawing/2014/main" id="{0FD7294E-B20C-48B8-99C2-D32C4CD7EB99}"/>
              </a:ext>
            </a:extLst>
          </p:cNvPr>
          <p:cNvGrpSpPr/>
          <p:nvPr/>
        </p:nvGrpSpPr>
        <p:grpSpPr>
          <a:xfrm>
            <a:off x="161343" y="1196498"/>
            <a:ext cx="14307714" cy="5802636"/>
            <a:chOff x="370196" y="1196498"/>
            <a:chExt cx="14307714" cy="580263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5775934-F650-4C52-AA5C-F013EB4A54BA}"/>
                </a:ext>
              </a:extLst>
            </p:cNvPr>
            <p:cNvGrpSpPr/>
            <p:nvPr/>
          </p:nvGrpSpPr>
          <p:grpSpPr>
            <a:xfrm>
              <a:off x="370196" y="1479290"/>
              <a:ext cx="2609224" cy="643538"/>
              <a:chOff x="330424" y="3751799"/>
              <a:chExt cx="15193725" cy="3747377"/>
            </a:xfrm>
          </p:grpSpPr>
          <p:sp>
            <p:nvSpPr>
              <p:cNvPr id="47" name="Arrow: Pentagon 46">
                <a:extLst>
                  <a:ext uri="{FF2B5EF4-FFF2-40B4-BE49-F238E27FC236}">
                    <a16:creationId xmlns:a16="http://schemas.microsoft.com/office/drawing/2014/main" id="{460A25A7-0027-481A-9C44-CCD751373D4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6B1DC55-73AE-49B0-BA9C-E00C869485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D2599AD-19F3-43FF-B7D6-0E94223DBEB3}"/>
                  </a:ext>
                </a:extLst>
              </p:cNvPr>
              <p:cNvCxnSpPr>
                <a:cxnSpLocks/>
                <a:endCxn id="8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0795C56-245F-4FC1-9266-6A819A09B96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8AC2CC2A-9A32-4450-A6D6-398C96BFA9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F4A5A69-8CDA-4E2B-8115-98FBD7A57D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C1B8574C-8631-487F-9DBB-9BE07B59F8EA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D828AEC-7DC1-4566-989F-4F3BB8FAD4DF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B4D51B6-1CD4-425C-86CB-01ACAE43EA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607BDB79-C26B-4488-A129-9D6000247E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4876AE72-690F-4591-BBD7-94D0F9E1CB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2563C88-AD81-4492-A25D-3C4CD5B2AF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0ED487-6803-431C-8E0F-40D973517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E2F1AFF7-785A-4CC8-B5A4-A3C7EA4BB1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E0564AE-63C1-4C76-ACB3-E32D017E66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336F5C3-BA4E-404F-BE24-C4F0A3B4D9C9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5" name="Oval 84">
                  <a:extLst>
                    <a:ext uri="{FF2B5EF4-FFF2-40B4-BE49-F238E27FC236}">
                      <a16:creationId xmlns:a16="http://schemas.microsoft.com/office/drawing/2014/main" id="{EE94C773-5386-4389-82C4-01754C2CD745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34D874AD-A200-45AC-ABA9-9289DEB0B87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495E7C3B-BAFB-4794-B5E8-F6241296529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0F1292AB-1C44-4CA1-B466-C42C37503E2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9B033ACF-4356-4305-8B9F-24F6EF92DB2C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2EC07D89-6A00-45B8-BDC1-1F69DA716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4924672-1CCF-4250-8BDA-A10058D21A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BCEAB92C-9039-4C61-9CD8-A0EC774885E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C8EED9EB-FF65-4F6B-83D0-3E282CF66D1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12D51E82-3AE1-4F60-B23C-6D60347778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1776255-27DE-4E6D-9E85-562993854D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EF30525A-7876-4B90-96D0-B558E25E1CE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265B3B71-CF74-4542-990C-FD662E3B556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A7562FF7-F9B2-4A29-A5BB-1DD5CF99829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98933D06-CE90-4450-8330-4D396861312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762DDA40-E7A4-4DDB-AE07-61BC3E3D113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6CA4E56-2B6B-4C76-948B-9EA9EBC11E03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7BC34D1A-4059-4CEF-9D8F-831EEF5C2D2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D1F842E-0C24-41D9-B295-5F3C5BAFA0E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75A879F-664F-4884-99CA-CB6B14662C4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8BAF577-EB68-4031-8B73-48FF73C1A2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E047594-C046-4C39-85D1-5E09926B883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10305D6-26B3-41AA-9A0E-7E05EDA384C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66FAB78-638E-4259-ACB7-957D5687AAC9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7FC14E-87D1-4ABF-85A7-654B00EF090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25B89526-3C75-4526-B36E-AB95AE944A86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74916CF-7E51-4CAF-8EF5-8BB8C4D1E033}"/>
                </a:ext>
              </a:extLst>
            </p:cNvPr>
            <p:cNvGrpSpPr/>
            <p:nvPr/>
          </p:nvGrpSpPr>
          <p:grpSpPr>
            <a:xfrm>
              <a:off x="1278437" y="2330048"/>
              <a:ext cx="2609224" cy="643538"/>
              <a:chOff x="330424" y="3751799"/>
              <a:chExt cx="15193725" cy="3747377"/>
            </a:xfrm>
          </p:grpSpPr>
          <p:sp>
            <p:nvSpPr>
              <p:cNvPr id="90" name="Arrow: Pentagon 89">
                <a:extLst>
                  <a:ext uri="{FF2B5EF4-FFF2-40B4-BE49-F238E27FC236}">
                    <a16:creationId xmlns:a16="http://schemas.microsoft.com/office/drawing/2014/main" id="{978C0DFB-31DA-45B9-AFF2-152AEAC9F87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747449C-31DA-4B4B-9169-748A85F08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E1F01EC-95E1-4937-B42F-F3718461A23B}"/>
                  </a:ext>
                </a:extLst>
              </p:cNvPr>
              <p:cNvCxnSpPr>
                <a:cxnSpLocks/>
                <a:endCxn id="128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E5E307D1-78BB-4ED0-92A4-03256343D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8097DD6-9DEB-4152-A6CE-75F6F55382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2580DE6-2546-47BA-A50E-5C3622DA02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7FBB411-EBAD-49A1-A2C8-6926E07D5B0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5D01276-34B1-46A5-A5A4-9C4A75642BD5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89034785-3A48-4125-9505-36715E54F4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A85C08A4-AC1B-4942-954A-8D547D5E5E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A1B49D4-D94B-40D9-A352-DAD51461C1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0847545C-5C5B-4CAE-9025-C1332A9CAE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A7F6AA23-FF85-498A-9535-2F8FCC00E2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26CACA63-4A99-47E1-AAFA-4A056916DC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B3184453-E6F4-4EFA-B8C0-CFA8E367A10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44FC26F5-D98F-4DA8-B842-30F0CE5542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28" name="Oval 127">
                  <a:extLst>
                    <a:ext uri="{FF2B5EF4-FFF2-40B4-BE49-F238E27FC236}">
                      <a16:creationId xmlns:a16="http://schemas.microsoft.com/office/drawing/2014/main" id="{3B233B3C-A801-4214-9C0D-97CE9FD9061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id="{EE633DE3-23A9-40BD-B47F-EBF2DB77690B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0" name="Oval 129">
                  <a:extLst>
                    <a:ext uri="{FF2B5EF4-FFF2-40B4-BE49-F238E27FC236}">
                      <a16:creationId xmlns:a16="http://schemas.microsoft.com/office/drawing/2014/main" id="{EFDFF4BC-5F19-445C-880B-5C27FAD232AB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B76D3C08-F0EE-40F8-9522-80F246D8A3E5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4FB4FF5-CDD9-4C06-B338-C746C1B67743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FD91404-AE45-4D5E-A9FA-3B87FF408D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FE5034FE-E04A-4820-88D2-9A53F0FB0ED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D26E55C-A7E0-48E3-ACB2-9969ABE5A40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ED059567-C4D4-4B36-9ECD-A349FE987EC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235844D0-1154-4042-9506-E17E84FE1E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4BE04D57-D1E7-4E66-8B69-AAEDDDE7E4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5F240005-BF51-4AED-B05E-DF5E0BDE2B6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09F6ADAC-0092-42DE-8DC2-A2F123365B9D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716D0A87-0BE5-4360-8C06-45BFD01BE4D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6" name="Oval 125">
                  <a:extLst>
                    <a:ext uri="{FF2B5EF4-FFF2-40B4-BE49-F238E27FC236}">
                      <a16:creationId xmlns:a16="http://schemas.microsoft.com/office/drawing/2014/main" id="{82D4F883-227B-4817-A959-D02B80D0ACB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id="{30D2F27C-030A-43CA-8004-96EA95EAA5D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6E610753-6398-4AA0-92E9-10BC3096D46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BA906B2A-9590-4F42-B702-4CB8DD773AB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E8C1CF0A-F743-479D-905C-7A4C7C0820D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C23AD92C-210F-45BF-BF74-276C737259D8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53A4D01F-E275-4033-BD52-FE5C0B02B815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7C572F8-BAA9-4B39-AA48-AFF9427CC8CF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69E88CBB-A4D7-44E0-8F26-87799B99911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AAB8670-214D-4FDA-86DD-23CACAD5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10C6D58-A5D8-46B5-A8BF-7FE0C0F9649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0BF9138C-F8AA-421E-A57C-5EE2D2BCDAFC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26AF8797-4D76-4D6D-96DB-1FFC8359D8EB}"/>
                </a:ext>
              </a:extLst>
            </p:cNvPr>
            <p:cNvGrpSpPr/>
            <p:nvPr/>
          </p:nvGrpSpPr>
          <p:grpSpPr>
            <a:xfrm>
              <a:off x="515435" y="3418666"/>
              <a:ext cx="2609224" cy="643538"/>
              <a:chOff x="330424" y="3751799"/>
              <a:chExt cx="15193725" cy="3747377"/>
            </a:xfrm>
          </p:grpSpPr>
          <p:sp>
            <p:nvSpPr>
              <p:cNvPr id="133" name="Arrow: Pentagon 132">
                <a:extLst>
                  <a:ext uri="{FF2B5EF4-FFF2-40B4-BE49-F238E27FC236}">
                    <a16:creationId xmlns:a16="http://schemas.microsoft.com/office/drawing/2014/main" id="{78F3665B-FA4C-4A76-91AD-68CD879A9573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AA7FBFB4-9541-4EB2-BE6E-059E566BB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8523BA2C-4A38-408A-866C-51FCE92FB277}"/>
                  </a:ext>
                </a:extLst>
              </p:cNvPr>
              <p:cNvCxnSpPr>
                <a:cxnSpLocks/>
                <a:endCxn id="171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75B54E52-52BF-422B-8BF7-4DBF514674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EB67149A-995A-47B3-81B8-20544C574E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0A83319-F212-4DB0-8594-1E0AFD0BC2E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A7A7E45F-7D28-4EE2-81C4-1D0D3ACBE77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C44C5CEE-1273-44C0-ACCF-1A8A2BEEC722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1AB1CCE7-B3E0-42BB-B443-9392B9D1F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CAA6F374-B163-4EA1-A15C-51D917B9FB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67788BC8-82A4-4A65-A1B9-FAD482EDA6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53D1FA43-212B-4421-A7C3-A1A2D5038BD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2869D18A-6623-43DE-9B37-34F78AF36F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2604FE9C-F98D-42CF-B99B-DE4440A931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0040B3FC-6379-4343-B16E-C9860B01BF5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1ADA8895-08B2-42C1-8AF5-47927074CF4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71" name="Oval 170">
                  <a:extLst>
                    <a:ext uri="{FF2B5EF4-FFF2-40B4-BE49-F238E27FC236}">
                      <a16:creationId xmlns:a16="http://schemas.microsoft.com/office/drawing/2014/main" id="{4147A96C-4C87-47A2-BF2F-937F18BB02B8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DB6E0B26-C93E-4CB3-94BE-7A849F03544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3" name="Oval 172">
                  <a:extLst>
                    <a:ext uri="{FF2B5EF4-FFF2-40B4-BE49-F238E27FC236}">
                      <a16:creationId xmlns:a16="http://schemas.microsoft.com/office/drawing/2014/main" id="{96683537-B485-431D-85CE-3647F7EFF636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4" name="Oval 173">
                  <a:extLst>
                    <a:ext uri="{FF2B5EF4-FFF2-40B4-BE49-F238E27FC236}">
                      <a16:creationId xmlns:a16="http://schemas.microsoft.com/office/drawing/2014/main" id="{3619A261-A33D-458F-93F9-B43439F9EE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94033BA-103F-4581-84BB-667D60605C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AC4C0176-0DAE-4991-849F-D5B145EDA3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95EB588-0488-49BE-8C92-452D659BBD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C2EDB38F-F59D-4D10-A47F-5B5F371B8CA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57D6D1A2-493D-4A7D-8DBB-37D742ED12ED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4579C7A4-5F95-47FE-BD8C-B59C8AB668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4956FD33-74F1-4EE5-8B39-6DCC46BC6F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FE59B834-0049-4D96-B252-86E401678EF3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67" name="Oval 166">
                  <a:extLst>
                    <a:ext uri="{FF2B5EF4-FFF2-40B4-BE49-F238E27FC236}">
                      <a16:creationId xmlns:a16="http://schemas.microsoft.com/office/drawing/2014/main" id="{3048EDE5-D1E1-403C-8D8F-DB3076C282E7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2BF801FF-4225-4B07-B965-CFE07371187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9" name="Oval 168">
                  <a:extLst>
                    <a:ext uri="{FF2B5EF4-FFF2-40B4-BE49-F238E27FC236}">
                      <a16:creationId xmlns:a16="http://schemas.microsoft.com/office/drawing/2014/main" id="{F4FD6FFE-7468-45F1-A739-DC850B37958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19D90097-036E-4932-A6EC-836B717CB35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B5DD543C-B00C-4161-BD8B-44161024F84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B6E65E1C-CCF3-43F5-856E-82D847128BF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118286D7-30EC-4732-9AEA-A2706C49917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D167730E-18C4-45E1-8522-9DD6F7B6727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DB2FE05-8BCB-4216-98ED-091BAA0DA4F9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158DC7E7-A081-4F96-B35D-46F637B3D5F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D5DD94BA-4CBD-4080-AE8F-6B37D92FF32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7DEF27DA-C46F-417A-97D5-F91A67508E2A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CE8B870D-D994-4953-9909-7F08768778C9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466F828B-EDE4-4481-91E7-51BCFEAEA86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4A9FF89F-54AC-49CD-9DA3-B515D76B8145}"/>
                </a:ext>
              </a:extLst>
            </p:cNvPr>
            <p:cNvGrpSpPr/>
            <p:nvPr/>
          </p:nvGrpSpPr>
          <p:grpSpPr>
            <a:xfrm>
              <a:off x="5029818" y="2272282"/>
              <a:ext cx="2609224" cy="643538"/>
              <a:chOff x="330424" y="3751799"/>
              <a:chExt cx="15193725" cy="3747377"/>
            </a:xfrm>
          </p:grpSpPr>
          <p:sp>
            <p:nvSpPr>
              <p:cNvPr id="176" name="Arrow: Pentagon 175">
                <a:extLst>
                  <a:ext uri="{FF2B5EF4-FFF2-40B4-BE49-F238E27FC236}">
                    <a16:creationId xmlns:a16="http://schemas.microsoft.com/office/drawing/2014/main" id="{4E43399E-9DF2-4A52-B834-3079CF55CF8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F5598CDB-B5B4-4C49-96A0-38F5798DB6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E61B36B0-C187-45DD-91FC-33B7DABF7CC4}"/>
                  </a:ext>
                </a:extLst>
              </p:cNvPr>
              <p:cNvCxnSpPr>
                <a:cxnSpLocks/>
                <a:endCxn id="21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C453AD55-F7C0-4C0B-88BC-20DA49762A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2573F46C-D71A-4E35-816C-F601F0C573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E9025446-10F5-465B-978C-02FBD07936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651F025-D162-40E5-9320-214E18484A9D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2C1ADC2-F1C4-4E87-A1C0-E65AE31A223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50AA859C-C58E-46AE-B6B8-5921A6AA6A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DB8571A5-E811-4E51-A595-11F03C933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B9F94A1D-0A69-4DCE-B16F-9278CE76EC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CF826511-9911-4EF6-AD7A-9C6C19F65ED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329EF371-31D5-4719-B575-43E8878EB8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031CF10-853A-4871-B9E2-96CA3646AA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4DF865BD-7B4E-4A3C-9E97-6BE714CD85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3AA5B176-0D15-45D2-9098-F897328521C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52533170-4A1E-4569-9EE0-FE62D2B464B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0816587E-A5B3-4AAD-96C9-7FC4B20A6C0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F1B08F58-779A-4AC6-8644-DB62E58EACC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4D6ED198-4239-4A61-A11A-8C2377A818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7724440D-CB31-4E46-8148-4415CBCEFFA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40B4184A-E938-4A63-94FB-6B93F361CB2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BFCF478-927E-488F-B47A-DE99ED5E714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1699F181-EE12-400C-9F42-7FFFC867FC7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54F49936-B06F-4EB1-8FD6-2CBB3928FAF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3A94B94F-F6EA-4C68-AB2F-BCC1C7DF25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F2B8E691-604A-4E91-A9AA-CB79E876E0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56833142-2E68-4C98-9F6B-BD7AF6A6D5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580FDBCD-B90B-469E-9D27-A1E6AC040C0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1" name="Oval 210">
                  <a:extLst>
                    <a:ext uri="{FF2B5EF4-FFF2-40B4-BE49-F238E27FC236}">
                      <a16:creationId xmlns:a16="http://schemas.microsoft.com/office/drawing/2014/main" id="{98F32B92-1E24-4784-9853-8AE60F8F3D2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CF664FC4-5466-4D98-9EDE-AC7D40193DC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47838CDC-C108-4535-8EF2-2532FDC48AA6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C9D9A534-D26A-483D-A77D-1163E3C6889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8130F03E-4333-4AF7-8793-C74CBFBE15A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8DBC2FFC-D32E-421C-8C40-2675DCCAE02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3357EAA7-3335-4730-99DE-1C41F965415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63A25D07-CDD0-4081-A523-77565289E4F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22392A4B-0FFA-49A6-8682-C15500AC2AD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A0DB264-097F-4368-AC8A-8FC93C113C4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7293AC79-5257-4085-9504-969EBE0108D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3F8DD6E-CF8B-4A6B-98A9-91F11A378ED0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01770A1-8CF7-4191-9078-5F0D8A88AA22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E44BBA85-F7A4-4E19-96B5-DEB0F16479F9}"/>
                </a:ext>
              </a:extLst>
            </p:cNvPr>
            <p:cNvGrpSpPr/>
            <p:nvPr/>
          </p:nvGrpSpPr>
          <p:grpSpPr>
            <a:xfrm>
              <a:off x="7872959" y="1363757"/>
              <a:ext cx="2609224" cy="643538"/>
              <a:chOff x="330424" y="3751799"/>
              <a:chExt cx="15193725" cy="3747377"/>
            </a:xfrm>
          </p:grpSpPr>
          <p:sp>
            <p:nvSpPr>
              <p:cNvPr id="219" name="Arrow: Pentagon 218">
                <a:extLst>
                  <a:ext uri="{FF2B5EF4-FFF2-40B4-BE49-F238E27FC236}">
                    <a16:creationId xmlns:a16="http://schemas.microsoft.com/office/drawing/2014/main" id="{912457BD-37FE-44BA-8075-01FA1F235F1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721E9EC6-9F3D-4617-A032-588A5785C0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CC63D01A-B7E2-4E42-BF58-7B59D0B4022C}"/>
                  </a:ext>
                </a:extLst>
              </p:cNvPr>
              <p:cNvCxnSpPr>
                <a:cxnSpLocks/>
                <a:endCxn id="257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92B485AA-4790-4CAE-B0E2-7A221EDD50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55FFC59B-E848-46D1-A516-452BAF29DD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59005F6A-A17D-4198-AA69-C149979F5E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B4D2363B-2BC8-4E0D-B889-F91E82DEF41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4F1BC29F-2B1B-4DE1-B925-BA93E41B5F3A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286C9516-2C89-4FC4-A58B-E1F35E1F21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DC3AA93E-EA6F-40E3-9FF8-9F23ABCA7D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2D5754AE-0618-4D75-B8E5-2638F83DE4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4E25BE72-1FC6-47A0-B97A-2025A20A05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CDEA8A25-F6C2-4541-8D36-6987AAF8E8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668E0105-B82C-4748-8CAA-31681AD9B8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0B159919-BB62-4FDF-B55E-80EE57E8C3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34" name="Group 233">
                <a:extLst>
                  <a:ext uri="{FF2B5EF4-FFF2-40B4-BE49-F238E27FC236}">
                    <a16:creationId xmlns:a16="http://schemas.microsoft.com/office/drawing/2014/main" id="{3CB1472B-56F1-4425-9B82-2F322DAD60E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1DAB317A-15D3-4DEA-8C6A-9D15189955DD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66ABF297-6038-4489-AC93-47A93668D67A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D579E941-69A2-4E80-91FE-DC69E06E4D8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2722FA16-6C8B-4978-8802-243EB5A6CB56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1590A85A-5A17-4EC3-B9F7-BA8875CC1FE4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3C7C909E-FE04-45D4-86F1-FD58A2C40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397B38E8-E5B4-4FC1-A0C4-3FE5D7D57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C7DB8D8C-34C5-464A-BEB6-98F8003E373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BC382616-E2D3-4F3D-A740-2E1BC48A43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8488D7C4-37B0-4E83-85FE-02C39F2298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EF5F3764-0F04-45F8-8191-CD98BDB3D9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1C5758DF-01B0-4DB6-8199-7A7A72F26A4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0DD88EE6-FFB6-4C76-B5CA-2A7FFC1FD4B6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4" name="Oval 253">
                  <a:extLst>
                    <a:ext uri="{FF2B5EF4-FFF2-40B4-BE49-F238E27FC236}">
                      <a16:creationId xmlns:a16="http://schemas.microsoft.com/office/drawing/2014/main" id="{D284D982-97F2-4F70-9C03-AFA6254CD31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5" name="Oval 254">
                  <a:extLst>
                    <a:ext uri="{FF2B5EF4-FFF2-40B4-BE49-F238E27FC236}">
                      <a16:creationId xmlns:a16="http://schemas.microsoft.com/office/drawing/2014/main" id="{3B6BF3CE-8D03-437A-A457-0066C03DC1C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6" name="Oval 255">
                  <a:extLst>
                    <a:ext uri="{FF2B5EF4-FFF2-40B4-BE49-F238E27FC236}">
                      <a16:creationId xmlns:a16="http://schemas.microsoft.com/office/drawing/2014/main" id="{7872A1A6-B27A-4EAF-B543-C8F11EDEA64D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5300D033-777D-48E0-9A68-D611A87E983D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AFC5895E-4CEF-487B-8C04-04B2DE74F3C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4DB76D9F-673D-4726-9B9F-FAA3332C9F6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02F86C5D-5591-4D05-894D-6045F295A5EE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8796D5D9-0501-43FD-B4CB-F89DBF5772F7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DABFE8D3-2766-4490-BA18-FFD87DC104E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ACA48074-E162-4AA3-8D9B-63ECD53CBAA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5A38F411-6D18-4A05-9CB9-C2382B51BAE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CD648692-C426-4754-B9A5-63C82AA4FC92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9FAB3529-D908-423C-9246-60D28492391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3E95C4B6-7DAF-49FD-97EF-2F9CD6EFA5D1}"/>
                </a:ext>
              </a:extLst>
            </p:cNvPr>
            <p:cNvGrpSpPr/>
            <p:nvPr/>
          </p:nvGrpSpPr>
          <p:grpSpPr>
            <a:xfrm>
              <a:off x="1230881" y="4717393"/>
              <a:ext cx="2609224" cy="643538"/>
              <a:chOff x="330424" y="3751799"/>
              <a:chExt cx="15193725" cy="3747377"/>
            </a:xfrm>
          </p:grpSpPr>
          <p:sp>
            <p:nvSpPr>
              <p:cNvPr id="262" name="Arrow: Pentagon 261">
                <a:extLst>
                  <a:ext uri="{FF2B5EF4-FFF2-40B4-BE49-F238E27FC236}">
                    <a16:creationId xmlns:a16="http://schemas.microsoft.com/office/drawing/2014/main" id="{59220CE7-BC5F-4629-968E-9DA1D184FF2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933B6C7C-D8AE-4A32-9101-F7BB0AAD8B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2799BD38-591A-40A7-BE12-48351D0913F1}"/>
                  </a:ext>
                </a:extLst>
              </p:cNvPr>
              <p:cNvCxnSpPr>
                <a:cxnSpLocks/>
                <a:endCxn id="30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6B0EEAA9-E579-4723-834C-A113554B49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FC296A09-4C45-467F-BE9E-B69EFAE00F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FA13ECCB-28C3-4D53-A781-9C9FCAD0B0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81D4D90-C5BA-4F95-981C-4561511B26B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69" name="Oval 268">
                <a:extLst>
                  <a:ext uri="{FF2B5EF4-FFF2-40B4-BE49-F238E27FC236}">
                    <a16:creationId xmlns:a16="http://schemas.microsoft.com/office/drawing/2014/main" id="{157AA959-29B7-4A96-9553-753E40261A96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CED939AC-948B-4177-A1A7-651BCD06AE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0397D200-A7CA-49D4-9A3D-C1656D9B19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5DFEC054-905C-4178-A22B-3C500B5675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FB588578-57F4-4321-8117-9EAA80F855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5DF2BAE9-F847-4B2D-A115-A7444D69E1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238731BC-A504-4B1A-88EB-1F58E67557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E39AD1D8-627F-4D7A-8D62-29DD007EFB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77" name="Group 276">
                <a:extLst>
                  <a:ext uri="{FF2B5EF4-FFF2-40B4-BE49-F238E27FC236}">
                    <a16:creationId xmlns:a16="http://schemas.microsoft.com/office/drawing/2014/main" id="{FCDEDBBE-F708-4DC7-BEB5-8F479CDC2EF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00" name="Oval 299">
                  <a:extLst>
                    <a:ext uri="{FF2B5EF4-FFF2-40B4-BE49-F238E27FC236}">
                      <a16:creationId xmlns:a16="http://schemas.microsoft.com/office/drawing/2014/main" id="{1C87ACE0-423D-45E8-9CDE-4FD948F01FA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1" name="Oval 300">
                  <a:extLst>
                    <a:ext uri="{FF2B5EF4-FFF2-40B4-BE49-F238E27FC236}">
                      <a16:creationId xmlns:a16="http://schemas.microsoft.com/office/drawing/2014/main" id="{50286F44-A848-4729-9364-7A75F86CE3C4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2" name="Oval 301">
                  <a:extLst>
                    <a:ext uri="{FF2B5EF4-FFF2-40B4-BE49-F238E27FC236}">
                      <a16:creationId xmlns:a16="http://schemas.microsoft.com/office/drawing/2014/main" id="{C105827C-8B0F-43DB-AC49-D1ACDEF59669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3" name="Oval 302">
                  <a:extLst>
                    <a:ext uri="{FF2B5EF4-FFF2-40B4-BE49-F238E27FC236}">
                      <a16:creationId xmlns:a16="http://schemas.microsoft.com/office/drawing/2014/main" id="{21D6C5EC-0471-4B6D-80D7-2C3BBC2DEB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E96CF4C3-1FE3-4D36-A3F3-9854F53FC05D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4BB54562-B259-43B2-B974-72DE6F7881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0" name="Straight Connector 279">
                <a:extLst>
                  <a:ext uri="{FF2B5EF4-FFF2-40B4-BE49-F238E27FC236}">
                    <a16:creationId xmlns:a16="http://schemas.microsoft.com/office/drawing/2014/main" id="{F3B54BE7-DCB6-4CB5-98BC-38E1B8BD14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4C075300-82A9-49FE-8087-84E346AAE68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12263820-FE96-459E-84F7-5D927E46E8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963EBD4F-B736-401B-A3A7-92ECB674CB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45BC2A26-1BD3-427E-8D39-56AC0E71DE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A5FCD22C-5989-4A07-ACE8-069BD99DAEB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599C5388-F742-43D3-A5E8-380DE5D20FC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FF83E0F8-7F95-4764-846A-C4FB1E0EF4C7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DD9CF2DA-78D5-4DCC-ADD9-90D0DAE275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9" name="Oval 298">
                  <a:extLst>
                    <a:ext uri="{FF2B5EF4-FFF2-40B4-BE49-F238E27FC236}">
                      <a16:creationId xmlns:a16="http://schemas.microsoft.com/office/drawing/2014/main" id="{5A3F5C11-E169-46C2-BEA9-98AB65F441D1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7E3940E8-8D60-4225-A03F-E65302EBE23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6006F577-5E59-4DB2-99A5-C1253B9C9DE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D3E2B54B-DA74-4C5C-8955-AE8755285996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110ED77D-0C68-400E-8608-2B0D34DB001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0F14B6E4-B2DA-48A9-942A-A5E2FBECD86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BD693E33-FB6D-485D-837F-5FDC947F2A5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79E4BE8-4DC5-45B0-954F-0AF944EE011A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5AE20CBB-EC21-4090-9F4D-2472BD7F777B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3C56E13B-4ECF-4EB5-B6C2-0A0640B986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444E375-F1F1-41FB-9BA1-AB8ABA01C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F01C86DD-47AD-4E6E-94E4-2EA98A6C7783}"/>
                </a:ext>
              </a:extLst>
            </p:cNvPr>
            <p:cNvGrpSpPr/>
            <p:nvPr/>
          </p:nvGrpSpPr>
          <p:grpSpPr>
            <a:xfrm>
              <a:off x="3864683" y="1196498"/>
              <a:ext cx="2609224" cy="643538"/>
              <a:chOff x="330424" y="3751799"/>
              <a:chExt cx="15193725" cy="3747377"/>
            </a:xfrm>
          </p:grpSpPr>
          <p:sp>
            <p:nvSpPr>
              <p:cNvPr id="305" name="Arrow: Pentagon 304">
                <a:extLst>
                  <a:ext uri="{FF2B5EF4-FFF2-40B4-BE49-F238E27FC236}">
                    <a16:creationId xmlns:a16="http://schemas.microsoft.com/office/drawing/2014/main" id="{E657C682-A83F-4A28-BBAF-91497D67FBC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47B8115F-AF72-45AF-937A-2376A14AE5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7" name="Straight Connector 306">
                <a:extLst>
                  <a:ext uri="{FF2B5EF4-FFF2-40B4-BE49-F238E27FC236}">
                    <a16:creationId xmlns:a16="http://schemas.microsoft.com/office/drawing/2014/main" id="{7A8FB734-81A6-46FA-A390-EE8802B3B335}"/>
                  </a:ext>
                </a:extLst>
              </p:cNvPr>
              <p:cNvCxnSpPr>
                <a:cxnSpLocks/>
                <a:endCxn id="34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8" name="Straight Connector 307">
                <a:extLst>
                  <a:ext uri="{FF2B5EF4-FFF2-40B4-BE49-F238E27FC236}">
                    <a16:creationId xmlns:a16="http://schemas.microsoft.com/office/drawing/2014/main" id="{E245BEAE-F855-47ED-9C28-FE97FD4BEA6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2B1ADCDA-5EC7-45D9-A26B-D835649514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0" name="Straight Connector 309">
                <a:extLst>
                  <a:ext uri="{FF2B5EF4-FFF2-40B4-BE49-F238E27FC236}">
                    <a16:creationId xmlns:a16="http://schemas.microsoft.com/office/drawing/2014/main" id="{8E4E9506-4988-425C-8AE9-0BC14CF413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11" name="Oval 310">
                <a:extLst>
                  <a:ext uri="{FF2B5EF4-FFF2-40B4-BE49-F238E27FC236}">
                    <a16:creationId xmlns:a16="http://schemas.microsoft.com/office/drawing/2014/main" id="{27201BC0-3053-43CC-A52B-44A1D7216C9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12" name="Oval 311">
                <a:extLst>
                  <a:ext uri="{FF2B5EF4-FFF2-40B4-BE49-F238E27FC236}">
                    <a16:creationId xmlns:a16="http://schemas.microsoft.com/office/drawing/2014/main" id="{B41DF409-927B-47AC-991C-585FDC2A098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13" name="Straight Connector 312">
                <a:extLst>
                  <a:ext uri="{FF2B5EF4-FFF2-40B4-BE49-F238E27FC236}">
                    <a16:creationId xmlns:a16="http://schemas.microsoft.com/office/drawing/2014/main" id="{CB3DBD37-2DC4-468B-B57C-126051627C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4" name="Straight Connector 313">
                <a:extLst>
                  <a:ext uri="{FF2B5EF4-FFF2-40B4-BE49-F238E27FC236}">
                    <a16:creationId xmlns:a16="http://schemas.microsoft.com/office/drawing/2014/main" id="{7EEBF94E-508A-4238-BC54-5F06598E10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5" name="Straight Connector 314">
                <a:extLst>
                  <a:ext uri="{FF2B5EF4-FFF2-40B4-BE49-F238E27FC236}">
                    <a16:creationId xmlns:a16="http://schemas.microsoft.com/office/drawing/2014/main" id="{BE759A3D-A058-48DC-B41C-63E2CC19ED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6" name="Straight Connector 315">
                <a:extLst>
                  <a:ext uri="{FF2B5EF4-FFF2-40B4-BE49-F238E27FC236}">
                    <a16:creationId xmlns:a16="http://schemas.microsoft.com/office/drawing/2014/main" id="{97185379-C17C-4B16-992F-AB39AA68A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7" name="Straight Connector 316">
                <a:extLst>
                  <a:ext uri="{FF2B5EF4-FFF2-40B4-BE49-F238E27FC236}">
                    <a16:creationId xmlns:a16="http://schemas.microsoft.com/office/drawing/2014/main" id="{C2954668-75D6-4DEF-884E-01BA253E5E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B67E653B-A659-4560-9704-FCBA8BE3C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0B00F0B0-42CC-4D64-BCA7-F7F4F8D336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0" name="Group 319">
                <a:extLst>
                  <a:ext uri="{FF2B5EF4-FFF2-40B4-BE49-F238E27FC236}">
                    <a16:creationId xmlns:a16="http://schemas.microsoft.com/office/drawing/2014/main" id="{EBD71495-4294-4A01-9169-0D32FC4CA1F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AE36F710-D3A7-474A-B4B1-1A7ACADE3349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D90382DA-33F4-4E4E-BAB3-46729FBBA63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5" name="Oval 344">
                  <a:extLst>
                    <a:ext uri="{FF2B5EF4-FFF2-40B4-BE49-F238E27FC236}">
                      <a16:creationId xmlns:a16="http://schemas.microsoft.com/office/drawing/2014/main" id="{AA385627-1BAA-4546-8F6C-A8EB0C6B1BF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6" name="Oval 345">
                  <a:extLst>
                    <a:ext uri="{FF2B5EF4-FFF2-40B4-BE49-F238E27FC236}">
                      <a16:creationId xmlns:a16="http://schemas.microsoft.com/office/drawing/2014/main" id="{68011CA6-A9A8-4947-AFA9-AF34C123DD4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E7B74C4E-08E7-48DF-B0A1-C8304D0D0EA7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22" name="Straight Connector 321">
                <a:extLst>
                  <a:ext uri="{FF2B5EF4-FFF2-40B4-BE49-F238E27FC236}">
                    <a16:creationId xmlns:a16="http://schemas.microsoft.com/office/drawing/2014/main" id="{46C67286-7F37-477D-B5AD-CD1D7FEA10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3" name="Straight Connector 322">
                <a:extLst>
                  <a:ext uri="{FF2B5EF4-FFF2-40B4-BE49-F238E27FC236}">
                    <a16:creationId xmlns:a16="http://schemas.microsoft.com/office/drawing/2014/main" id="{127A47A5-C9E2-44B2-9295-A90D53D6ADB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24" name="Oval 323">
                <a:extLst>
                  <a:ext uri="{FF2B5EF4-FFF2-40B4-BE49-F238E27FC236}">
                    <a16:creationId xmlns:a16="http://schemas.microsoft.com/office/drawing/2014/main" id="{4DA88D0E-36CE-4920-825B-95ABF8E782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25" name="Oval 324">
                <a:extLst>
                  <a:ext uri="{FF2B5EF4-FFF2-40B4-BE49-F238E27FC236}">
                    <a16:creationId xmlns:a16="http://schemas.microsoft.com/office/drawing/2014/main" id="{BCB95280-934C-4C8E-A82D-42B8816290A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3A28DC07-C7E1-4B72-BB92-790D52692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84CD5E0D-8206-45C6-A0A0-01F165063C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8DFE5A99-4CE8-4D2D-A8E1-B2F416BF6557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39" name="Oval 338">
                  <a:extLst>
                    <a:ext uri="{FF2B5EF4-FFF2-40B4-BE49-F238E27FC236}">
                      <a16:creationId xmlns:a16="http://schemas.microsoft.com/office/drawing/2014/main" id="{2C4BDDCD-9BB7-404D-B3B0-4CF3C8075F1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0" name="Oval 339">
                  <a:extLst>
                    <a:ext uri="{FF2B5EF4-FFF2-40B4-BE49-F238E27FC236}">
                      <a16:creationId xmlns:a16="http://schemas.microsoft.com/office/drawing/2014/main" id="{C1F2163A-1409-4044-A249-75FBA974915E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1" name="Oval 340">
                  <a:extLst>
                    <a:ext uri="{FF2B5EF4-FFF2-40B4-BE49-F238E27FC236}">
                      <a16:creationId xmlns:a16="http://schemas.microsoft.com/office/drawing/2014/main" id="{032CD318-9F79-46F9-9C3B-A74CE8C450F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16276CDF-0375-446A-A15E-8DD14E3DCF6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9" name="Oval 328">
                <a:extLst>
                  <a:ext uri="{FF2B5EF4-FFF2-40B4-BE49-F238E27FC236}">
                    <a16:creationId xmlns:a16="http://schemas.microsoft.com/office/drawing/2014/main" id="{A7B4EACC-C834-4491-8C02-BF626A07D78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0" name="Oval 329">
                <a:extLst>
                  <a:ext uri="{FF2B5EF4-FFF2-40B4-BE49-F238E27FC236}">
                    <a16:creationId xmlns:a16="http://schemas.microsoft.com/office/drawing/2014/main" id="{0BE60708-8C11-40CD-BEEF-438922009FE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0EBDB46F-BF51-4B57-8D26-F71C52B2FCF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EC937090-0230-4E41-B52A-8AA9D8073F8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BC813F56-3AE9-48D7-B3DB-A9ED9D485E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4" name="Oval 333">
                <a:extLst>
                  <a:ext uri="{FF2B5EF4-FFF2-40B4-BE49-F238E27FC236}">
                    <a16:creationId xmlns:a16="http://schemas.microsoft.com/office/drawing/2014/main" id="{D9F52E51-7C9D-45CE-8158-F2CAFDEA094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874009A3-0138-43A3-9F5A-ACD6AA51F871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01A7D076-6A63-40F6-8107-A3E3195D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7" name="Oval 336">
                <a:extLst>
                  <a:ext uri="{FF2B5EF4-FFF2-40B4-BE49-F238E27FC236}">
                    <a16:creationId xmlns:a16="http://schemas.microsoft.com/office/drawing/2014/main" id="{2EA5D818-3201-4301-AD87-4A705095119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8" name="Oval 337">
                <a:extLst>
                  <a:ext uri="{FF2B5EF4-FFF2-40B4-BE49-F238E27FC236}">
                    <a16:creationId xmlns:a16="http://schemas.microsoft.com/office/drawing/2014/main" id="{26EEDF7B-BCF9-46CC-9EDC-70274B25A9C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AB3E5A61-3199-4699-B155-5ED02BF89724}"/>
                </a:ext>
              </a:extLst>
            </p:cNvPr>
            <p:cNvGrpSpPr/>
            <p:nvPr/>
          </p:nvGrpSpPr>
          <p:grpSpPr>
            <a:xfrm>
              <a:off x="7866937" y="4336230"/>
              <a:ext cx="2609224" cy="643538"/>
              <a:chOff x="330424" y="3751799"/>
              <a:chExt cx="15193725" cy="3747377"/>
            </a:xfrm>
          </p:grpSpPr>
          <p:sp>
            <p:nvSpPr>
              <p:cNvPr id="348" name="Arrow: Pentagon 347">
                <a:extLst>
                  <a:ext uri="{FF2B5EF4-FFF2-40B4-BE49-F238E27FC236}">
                    <a16:creationId xmlns:a16="http://schemas.microsoft.com/office/drawing/2014/main" id="{9229A2C0-4D12-4167-A46D-1AC8294934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50BE658A-9FB3-41AC-BCAC-C4792EB6B0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4D1FA263-B0DE-4CAD-8A6E-A66A07339A20}"/>
                  </a:ext>
                </a:extLst>
              </p:cNvPr>
              <p:cNvCxnSpPr>
                <a:cxnSpLocks/>
                <a:endCxn id="38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03B73627-CB1F-4867-8A29-C62B979BC7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88706D86-3C9E-4F42-92CF-4CABE0A512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E242C81-B836-43BA-943E-7CCCC7B49E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C1F41051-7B22-40AD-986E-9DC72D88808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20D77CEB-206E-4459-A1B4-2E81CD5F3F2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D20CA94B-A844-4AB2-B611-C031087CB4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DC9D3FF2-66EB-4C76-BA1F-34D5470662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123AB2B0-C9B0-4255-9382-982393C624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Straight Connector 358">
                <a:extLst>
                  <a:ext uri="{FF2B5EF4-FFF2-40B4-BE49-F238E27FC236}">
                    <a16:creationId xmlns:a16="http://schemas.microsoft.com/office/drawing/2014/main" id="{19E9EE26-D94B-454E-806C-8A6DACC19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0" name="Straight Connector 359">
                <a:extLst>
                  <a:ext uri="{FF2B5EF4-FFF2-40B4-BE49-F238E27FC236}">
                    <a16:creationId xmlns:a16="http://schemas.microsoft.com/office/drawing/2014/main" id="{57E2D90E-44C1-4B83-8B44-D3E7848EA4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1" name="Straight Connector 360">
                <a:extLst>
                  <a:ext uri="{FF2B5EF4-FFF2-40B4-BE49-F238E27FC236}">
                    <a16:creationId xmlns:a16="http://schemas.microsoft.com/office/drawing/2014/main" id="{9E04F079-6EE9-42F7-A9C7-16157FE3D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2" name="Straight Connector 361">
                <a:extLst>
                  <a:ext uri="{FF2B5EF4-FFF2-40B4-BE49-F238E27FC236}">
                    <a16:creationId xmlns:a16="http://schemas.microsoft.com/office/drawing/2014/main" id="{7D2CB014-A0CA-4AF0-9271-2CF6C7EC9C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F9633411-3606-4432-BC94-616EC11DF61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86" name="Oval 385">
                  <a:extLst>
                    <a:ext uri="{FF2B5EF4-FFF2-40B4-BE49-F238E27FC236}">
                      <a16:creationId xmlns:a16="http://schemas.microsoft.com/office/drawing/2014/main" id="{C950227F-6FAE-468D-BA45-71C519994A1E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7" name="Oval 386">
                  <a:extLst>
                    <a:ext uri="{FF2B5EF4-FFF2-40B4-BE49-F238E27FC236}">
                      <a16:creationId xmlns:a16="http://schemas.microsoft.com/office/drawing/2014/main" id="{209A6CED-C0D1-49BB-88C5-5828EFDA8CA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D05BC35F-2911-4993-B646-8C9D0797A08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9" name="Oval 388">
                  <a:extLst>
                    <a:ext uri="{FF2B5EF4-FFF2-40B4-BE49-F238E27FC236}">
                      <a16:creationId xmlns:a16="http://schemas.microsoft.com/office/drawing/2014/main" id="{60E19E60-1A88-4549-9E25-427BA038F7C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AD86FF21-6E4A-4FD4-8BC5-6645581FCB1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65" name="Straight Connector 364">
                <a:extLst>
                  <a:ext uri="{FF2B5EF4-FFF2-40B4-BE49-F238E27FC236}">
                    <a16:creationId xmlns:a16="http://schemas.microsoft.com/office/drawing/2014/main" id="{28DF108B-A385-46FA-8C2D-A6E7D32FFC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00C44BD8-C792-46F4-8FAB-78AAAAC06E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B92865D2-F228-4C46-8B53-1A8169CB819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71C274A3-7FCE-41B6-9FD8-1A3C7CA5239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69" name="Straight Connector 368">
                <a:extLst>
                  <a:ext uri="{FF2B5EF4-FFF2-40B4-BE49-F238E27FC236}">
                    <a16:creationId xmlns:a16="http://schemas.microsoft.com/office/drawing/2014/main" id="{0B00B11B-6DAC-4E3F-8642-BB59DE4BB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70" name="Straight Connector 369">
                <a:extLst>
                  <a:ext uri="{FF2B5EF4-FFF2-40B4-BE49-F238E27FC236}">
                    <a16:creationId xmlns:a16="http://schemas.microsoft.com/office/drawing/2014/main" id="{DBB2A9E4-013F-4C77-AEA4-4F51C8E643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71" name="Group 370">
                <a:extLst>
                  <a:ext uri="{FF2B5EF4-FFF2-40B4-BE49-F238E27FC236}">
                    <a16:creationId xmlns:a16="http://schemas.microsoft.com/office/drawing/2014/main" id="{D9891306-6B17-4C44-BC02-E236130CC8A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02F0A84E-D211-4D18-9C1E-23FE9B97539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3" name="Oval 382">
                  <a:extLst>
                    <a:ext uri="{FF2B5EF4-FFF2-40B4-BE49-F238E27FC236}">
                      <a16:creationId xmlns:a16="http://schemas.microsoft.com/office/drawing/2014/main" id="{4CF16355-F913-454F-9088-21911030DBA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FB082897-BBCD-4EF8-B384-CD5B5571DDB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5" name="Oval 384">
                  <a:extLst>
                    <a:ext uri="{FF2B5EF4-FFF2-40B4-BE49-F238E27FC236}">
                      <a16:creationId xmlns:a16="http://schemas.microsoft.com/office/drawing/2014/main" id="{E380C8AE-8865-44C6-A76C-A464D7D0B98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72" name="Oval 371">
                <a:extLst>
                  <a:ext uri="{FF2B5EF4-FFF2-40B4-BE49-F238E27FC236}">
                    <a16:creationId xmlns:a16="http://schemas.microsoft.com/office/drawing/2014/main" id="{2939A615-811F-463F-AABE-66C7F1A7AAB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3" name="Oval 372">
                <a:extLst>
                  <a:ext uri="{FF2B5EF4-FFF2-40B4-BE49-F238E27FC236}">
                    <a16:creationId xmlns:a16="http://schemas.microsoft.com/office/drawing/2014/main" id="{CD782BAC-2C52-4B2D-AA97-80A5BF25173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4" name="Oval 373">
                <a:extLst>
                  <a:ext uri="{FF2B5EF4-FFF2-40B4-BE49-F238E27FC236}">
                    <a16:creationId xmlns:a16="http://schemas.microsoft.com/office/drawing/2014/main" id="{2F8641FC-FCD6-4327-88C9-3CD5E124971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5" name="Oval 374">
                <a:extLst>
                  <a:ext uri="{FF2B5EF4-FFF2-40B4-BE49-F238E27FC236}">
                    <a16:creationId xmlns:a16="http://schemas.microsoft.com/office/drawing/2014/main" id="{E2447890-F64E-42A1-B5ED-FDA2649B179F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6" name="Oval 375">
                <a:extLst>
                  <a:ext uri="{FF2B5EF4-FFF2-40B4-BE49-F238E27FC236}">
                    <a16:creationId xmlns:a16="http://schemas.microsoft.com/office/drawing/2014/main" id="{CF33BEA8-CD91-4D8B-A02B-6E3DBF7FA6B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7" name="Oval 376">
                <a:extLst>
                  <a:ext uri="{FF2B5EF4-FFF2-40B4-BE49-F238E27FC236}">
                    <a16:creationId xmlns:a16="http://schemas.microsoft.com/office/drawing/2014/main" id="{F2C3352B-3066-476D-A35E-07F3AF0EE6B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8" name="Oval 377">
                <a:extLst>
                  <a:ext uri="{FF2B5EF4-FFF2-40B4-BE49-F238E27FC236}">
                    <a16:creationId xmlns:a16="http://schemas.microsoft.com/office/drawing/2014/main" id="{BC407F8E-735E-484A-840D-A0ED004B893E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95046F66-2AF9-4806-A404-66036E97AB5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1A1ED253-DFCE-4AF7-93D5-865F5E43BDA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1" name="Oval 380">
                <a:extLst>
                  <a:ext uri="{FF2B5EF4-FFF2-40B4-BE49-F238E27FC236}">
                    <a16:creationId xmlns:a16="http://schemas.microsoft.com/office/drawing/2014/main" id="{A3A371DB-212D-43B0-9303-D73ECBEC7F3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7F89033C-0757-4E79-8830-5077444D43F3}"/>
                </a:ext>
              </a:extLst>
            </p:cNvPr>
            <p:cNvGrpSpPr/>
            <p:nvPr/>
          </p:nvGrpSpPr>
          <p:grpSpPr>
            <a:xfrm>
              <a:off x="4946908" y="4448555"/>
              <a:ext cx="2609224" cy="643538"/>
              <a:chOff x="330424" y="3751799"/>
              <a:chExt cx="15193725" cy="3747377"/>
            </a:xfrm>
          </p:grpSpPr>
          <p:sp>
            <p:nvSpPr>
              <p:cNvPr id="391" name="Arrow: Pentagon 390">
                <a:extLst>
                  <a:ext uri="{FF2B5EF4-FFF2-40B4-BE49-F238E27FC236}">
                    <a16:creationId xmlns:a16="http://schemas.microsoft.com/office/drawing/2014/main" id="{8F88170F-54F2-4E5B-881C-B8F77FF3191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92" name="Straight Connector 391">
                <a:extLst>
                  <a:ext uri="{FF2B5EF4-FFF2-40B4-BE49-F238E27FC236}">
                    <a16:creationId xmlns:a16="http://schemas.microsoft.com/office/drawing/2014/main" id="{FC36E438-3519-4552-8DCF-EDFEBE16E8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3" name="Straight Connector 392">
                <a:extLst>
                  <a:ext uri="{FF2B5EF4-FFF2-40B4-BE49-F238E27FC236}">
                    <a16:creationId xmlns:a16="http://schemas.microsoft.com/office/drawing/2014/main" id="{F471BC97-FC5C-4430-8F3C-41758553CA18}"/>
                  </a:ext>
                </a:extLst>
              </p:cNvPr>
              <p:cNvCxnSpPr>
                <a:cxnSpLocks/>
                <a:endCxn id="429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4" name="Straight Connector 393">
                <a:extLst>
                  <a:ext uri="{FF2B5EF4-FFF2-40B4-BE49-F238E27FC236}">
                    <a16:creationId xmlns:a16="http://schemas.microsoft.com/office/drawing/2014/main" id="{2B1177AD-C154-4552-B3E6-BC17D69457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5" name="Straight Connector 394">
                <a:extLst>
                  <a:ext uri="{FF2B5EF4-FFF2-40B4-BE49-F238E27FC236}">
                    <a16:creationId xmlns:a16="http://schemas.microsoft.com/office/drawing/2014/main" id="{C55FE334-BBA1-4712-8C63-76A265FE7D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6" name="Straight Connector 395">
                <a:extLst>
                  <a:ext uri="{FF2B5EF4-FFF2-40B4-BE49-F238E27FC236}">
                    <a16:creationId xmlns:a16="http://schemas.microsoft.com/office/drawing/2014/main" id="{6D07C684-B61F-4FD9-BDAE-3DD1042D8C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EC583AB-1AF6-4F48-B0A6-27FFD24BD73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20421334-11B4-4064-B220-40497A58843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99" name="Straight Connector 398">
                <a:extLst>
                  <a:ext uri="{FF2B5EF4-FFF2-40B4-BE49-F238E27FC236}">
                    <a16:creationId xmlns:a16="http://schemas.microsoft.com/office/drawing/2014/main" id="{460D404E-E578-45F1-9755-D20462D541F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0" name="Straight Connector 399">
                <a:extLst>
                  <a:ext uri="{FF2B5EF4-FFF2-40B4-BE49-F238E27FC236}">
                    <a16:creationId xmlns:a16="http://schemas.microsoft.com/office/drawing/2014/main" id="{9BD39092-DE22-4410-A7C6-DBFB6417B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1" name="Straight Connector 400">
                <a:extLst>
                  <a:ext uri="{FF2B5EF4-FFF2-40B4-BE49-F238E27FC236}">
                    <a16:creationId xmlns:a16="http://schemas.microsoft.com/office/drawing/2014/main" id="{A3D9F126-125F-4334-860C-8D1F11BF12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DE70051F-D572-4B96-9E88-5DC1D03E95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3" name="Straight Connector 402">
                <a:extLst>
                  <a:ext uri="{FF2B5EF4-FFF2-40B4-BE49-F238E27FC236}">
                    <a16:creationId xmlns:a16="http://schemas.microsoft.com/office/drawing/2014/main" id="{DC6B8206-B88B-4400-B60D-4286CCEAD9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4" name="Straight Connector 403">
                <a:extLst>
                  <a:ext uri="{FF2B5EF4-FFF2-40B4-BE49-F238E27FC236}">
                    <a16:creationId xmlns:a16="http://schemas.microsoft.com/office/drawing/2014/main" id="{53C300E2-B7CF-4628-A51D-9C394AAF11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5" name="Straight Connector 404">
                <a:extLst>
                  <a:ext uri="{FF2B5EF4-FFF2-40B4-BE49-F238E27FC236}">
                    <a16:creationId xmlns:a16="http://schemas.microsoft.com/office/drawing/2014/main" id="{3D2E187C-52CD-4331-BCAB-8325337AAF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06" name="Group 405">
                <a:extLst>
                  <a:ext uri="{FF2B5EF4-FFF2-40B4-BE49-F238E27FC236}">
                    <a16:creationId xmlns:a16="http://schemas.microsoft.com/office/drawing/2014/main" id="{AA0265FB-894F-4725-822A-6FF9A1D90CFF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29" name="Oval 428">
                  <a:extLst>
                    <a:ext uri="{FF2B5EF4-FFF2-40B4-BE49-F238E27FC236}">
                      <a16:creationId xmlns:a16="http://schemas.microsoft.com/office/drawing/2014/main" id="{C85CF08C-A320-4AD5-87F5-D7471414764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0" name="Oval 429">
                  <a:extLst>
                    <a:ext uri="{FF2B5EF4-FFF2-40B4-BE49-F238E27FC236}">
                      <a16:creationId xmlns:a16="http://schemas.microsoft.com/office/drawing/2014/main" id="{EC3EA798-8583-41BD-B7C2-DC1C8454BE0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1" name="Oval 430">
                  <a:extLst>
                    <a:ext uri="{FF2B5EF4-FFF2-40B4-BE49-F238E27FC236}">
                      <a16:creationId xmlns:a16="http://schemas.microsoft.com/office/drawing/2014/main" id="{02BE5422-1136-4B80-A6E9-60B09868178D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2" name="Oval 431">
                  <a:extLst>
                    <a:ext uri="{FF2B5EF4-FFF2-40B4-BE49-F238E27FC236}">
                      <a16:creationId xmlns:a16="http://schemas.microsoft.com/office/drawing/2014/main" id="{1CDAE893-32FA-47BF-AA0F-304CC7CA2681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96CF460C-5596-48E6-A77F-5D9D547C455E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DD5B96F9-98CE-4AA3-BFC0-11D5B59D4F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9" name="Straight Connector 408">
                <a:extLst>
                  <a:ext uri="{FF2B5EF4-FFF2-40B4-BE49-F238E27FC236}">
                    <a16:creationId xmlns:a16="http://schemas.microsoft.com/office/drawing/2014/main" id="{BDBC8114-8710-4C95-AD2F-A0A9EF6401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C615BE8A-2EB7-4370-B4AA-F5D2CA44C8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75FF33E1-7E29-44E4-91EE-D1F70CD3568A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E599BA35-660E-4885-A0C8-BF6118D1B8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A72CC226-24A1-42DA-A130-6E5C14185D0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14" name="Group 413">
                <a:extLst>
                  <a:ext uri="{FF2B5EF4-FFF2-40B4-BE49-F238E27FC236}">
                    <a16:creationId xmlns:a16="http://schemas.microsoft.com/office/drawing/2014/main" id="{B102C949-0336-44B4-AB26-6B912C52412A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25" name="Oval 424">
                  <a:extLst>
                    <a:ext uri="{FF2B5EF4-FFF2-40B4-BE49-F238E27FC236}">
                      <a16:creationId xmlns:a16="http://schemas.microsoft.com/office/drawing/2014/main" id="{BE5BF5B4-AEFD-4283-BDEB-EDCABCCBD1C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6" name="Oval 425">
                  <a:extLst>
                    <a:ext uri="{FF2B5EF4-FFF2-40B4-BE49-F238E27FC236}">
                      <a16:creationId xmlns:a16="http://schemas.microsoft.com/office/drawing/2014/main" id="{D2C95F16-6641-4D7A-8A2A-3C28E47CBE9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7" name="Oval 426">
                  <a:extLst>
                    <a:ext uri="{FF2B5EF4-FFF2-40B4-BE49-F238E27FC236}">
                      <a16:creationId xmlns:a16="http://schemas.microsoft.com/office/drawing/2014/main" id="{60517B95-63E1-4300-B9B2-AEDA59C4B2E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8" name="Oval 427">
                  <a:extLst>
                    <a:ext uri="{FF2B5EF4-FFF2-40B4-BE49-F238E27FC236}">
                      <a16:creationId xmlns:a16="http://schemas.microsoft.com/office/drawing/2014/main" id="{30500782-E032-4B3F-AA15-DDF40EFFA73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3CF1F170-5DAB-4492-A7BE-4E5E95115E89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2BB053DF-7459-4BF5-9C01-B640A13DCE4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4445D576-4DCD-4034-88D9-C4C75F02C59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194C8F98-C514-4EBC-AC3E-208D5869FB5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F796838F-6E80-4A1D-A27B-62CF2DFBE70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7A5B04C-14CF-403D-8D89-24AF7DB112A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96DD62E9-8D1D-4493-A010-523F60C8C32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098BD61F-66DE-4FAF-872A-4691D1F4468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D7DA3CB6-7054-4C91-B725-81631CA791F6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378FE48F-C571-4F61-8426-CD964F09DD6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ECD0524B-0DE4-445B-8399-8C082500F81A}"/>
                </a:ext>
              </a:extLst>
            </p:cNvPr>
            <p:cNvGrpSpPr/>
            <p:nvPr/>
          </p:nvGrpSpPr>
          <p:grpSpPr>
            <a:xfrm>
              <a:off x="4581933" y="3326987"/>
              <a:ext cx="2609224" cy="643538"/>
              <a:chOff x="330424" y="3751799"/>
              <a:chExt cx="15193725" cy="3747377"/>
            </a:xfrm>
          </p:grpSpPr>
          <p:sp>
            <p:nvSpPr>
              <p:cNvPr id="434" name="Arrow: Pentagon 433">
                <a:extLst>
                  <a:ext uri="{FF2B5EF4-FFF2-40B4-BE49-F238E27FC236}">
                    <a16:creationId xmlns:a16="http://schemas.microsoft.com/office/drawing/2014/main" id="{470B9D0B-EEDD-42C7-9503-16823B8E19A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35" name="Straight Connector 434">
                <a:extLst>
                  <a:ext uri="{FF2B5EF4-FFF2-40B4-BE49-F238E27FC236}">
                    <a16:creationId xmlns:a16="http://schemas.microsoft.com/office/drawing/2014/main" id="{83999232-0D80-48F7-9FD3-2C5BC852BC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6" name="Straight Connector 435">
                <a:extLst>
                  <a:ext uri="{FF2B5EF4-FFF2-40B4-BE49-F238E27FC236}">
                    <a16:creationId xmlns:a16="http://schemas.microsoft.com/office/drawing/2014/main" id="{00860C8B-CE76-4F75-90F9-1B843A61FB2E}"/>
                  </a:ext>
                </a:extLst>
              </p:cNvPr>
              <p:cNvCxnSpPr>
                <a:cxnSpLocks/>
                <a:endCxn id="47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7" name="Straight Connector 436">
                <a:extLst>
                  <a:ext uri="{FF2B5EF4-FFF2-40B4-BE49-F238E27FC236}">
                    <a16:creationId xmlns:a16="http://schemas.microsoft.com/office/drawing/2014/main" id="{4BAE9F90-35D0-485A-9B52-1717641D82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8" name="Straight Connector 437">
                <a:extLst>
                  <a:ext uri="{FF2B5EF4-FFF2-40B4-BE49-F238E27FC236}">
                    <a16:creationId xmlns:a16="http://schemas.microsoft.com/office/drawing/2014/main" id="{10155EF9-40ED-4C45-ADC7-4F9C7746AD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90ABEE7C-E850-43B7-BC3A-0C88AC5702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CA1053CF-3827-47E5-AD70-427AAB59C9C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AE4043C1-AD33-47C5-8704-243322AC5C1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42" name="Straight Connector 441">
                <a:extLst>
                  <a:ext uri="{FF2B5EF4-FFF2-40B4-BE49-F238E27FC236}">
                    <a16:creationId xmlns:a16="http://schemas.microsoft.com/office/drawing/2014/main" id="{68BD5DA3-60AE-43D7-AB4F-BB9312B8D3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3" name="Straight Connector 442">
                <a:extLst>
                  <a:ext uri="{FF2B5EF4-FFF2-40B4-BE49-F238E27FC236}">
                    <a16:creationId xmlns:a16="http://schemas.microsoft.com/office/drawing/2014/main" id="{417C2A81-9813-478A-84BB-66E6B46E3B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4" name="Straight Connector 443">
                <a:extLst>
                  <a:ext uri="{FF2B5EF4-FFF2-40B4-BE49-F238E27FC236}">
                    <a16:creationId xmlns:a16="http://schemas.microsoft.com/office/drawing/2014/main" id="{26262783-BC99-4880-9DB6-1AFF414CAB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5" name="Straight Connector 444">
                <a:extLst>
                  <a:ext uri="{FF2B5EF4-FFF2-40B4-BE49-F238E27FC236}">
                    <a16:creationId xmlns:a16="http://schemas.microsoft.com/office/drawing/2014/main" id="{C027B4D3-2BB7-43E6-A7B1-D1504CDA87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6" name="Straight Connector 445">
                <a:extLst>
                  <a:ext uri="{FF2B5EF4-FFF2-40B4-BE49-F238E27FC236}">
                    <a16:creationId xmlns:a16="http://schemas.microsoft.com/office/drawing/2014/main" id="{4029FDF0-4E4B-4887-B937-F5BCC4D588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7" name="Straight Connector 446">
                <a:extLst>
                  <a:ext uri="{FF2B5EF4-FFF2-40B4-BE49-F238E27FC236}">
                    <a16:creationId xmlns:a16="http://schemas.microsoft.com/office/drawing/2014/main" id="{3CCC8650-1D30-4031-A0E6-0FA215EDF6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8" name="Straight Connector 447">
                <a:extLst>
                  <a:ext uri="{FF2B5EF4-FFF2-40B4-BE49-F238E27FC236}">
                    <a16:creationId xmlns:a16="http://schemas.microsoft.com/office/drawing/2014/main" id="{9CD5C3FA-FBE6-44F6-BB84-012551B01A3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EF74D20F-4A2D-4409-B31C-7AF343E2D57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72" name="Oval 471">
                  <a:extLst>
                    <a:ext uri="{FF2B5EF4-FFF2-40B4-BE49-F238E27FC236}">
                      <a16:creationId xmlns:a16="http://schemas.microsoft.com/office/drawing/2014/main" id="{A84DCDFB-F9A1-4520-BDE6-A1B09606533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3" name="Oval 472">
                  <a:extLst>
                    <a:ext uri="{FF2B5EF4-FFF2-40B4-BE49-F238E27FC236}">
                      <a16:creationId xmlns:a16="http://schemas.microsoft.com/office/drawing/2014/main" id="{DE866A00-0178-44A7-B935-0C776988969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4" name="Oval 473">
                  <a:extLst>
                    <a:ext uri="{FF2B5EF4-FFF2-40B4-BE49-F238E27FC236}">
                      <a16:creationId xmlns:a16="http://schemas.microsoft.com/office/drawing/2014/main" id="{BEB5AB94-9823-4B35-85A7-E7FA183BEC81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5" name="Oval 474">
                  <a:extLst>
                    <a:ext uri="{FF2B5EF4-FFF2-40B4-BE49-F238E27FC236}">
                      <a16:creationId xmlns:a16="http://schemas.microsoft.com/office/drawing/2014/main" id="{D466E187-C781-4BA4-A014-861C3C33B2E4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E3A86833-1CAD-4031-83E8-96739B0AF44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51" name="Straight Connector 450">
                <a:extLst>
                  <a:ext uri="{FF2B5EF4-FFF2-40B4-BE49-F238E27FC236}">
                    <a16:creationId xmlns:a16="http://schemas.microsoft.com/office/drawing/2014/main" id="{4D77A3B6-3BC8-465C-9F8E-7D0AFD13D73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2" name="Straight Connector 451">
                <a:extLst>
                  <a:ext uri="{FF2B5EF4-FFF2-40B4-BE49-F238E27FC236}">
                    <a16:creationId xmlns:a16="http://schemas.microsoft.com/office/drawing/2014/main" id="{B87121D3-3E7B-4A6F-8702-20027293B3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DB5E0383-336C-4779-BF3E-17CBE6A7C7E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0C7E10B4-34AE-49E2-A13A-D4475CD6AAC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55" name="Straight Connector 454">
                <a:extLst>
                  <a:ext uri="{FF2B5EF4-FFF2-40B4-BE49-F238E27FC236}">
                    <a16:creationId xmlns:a16="http://schemas.microsoft.com/office/drawing/2014/main" id="{C3E7E5B4-CF0D-480C-A7CA-1ED1A5F80E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6" name="Straight Connector 455">
                <a:extLst>
                  <a:ext uri="{FF2B5EF4-FFF2-40B4-BE49-F238E27FC236}">
                    <a16:creationId xmlns:a16="http://schemas.microsoft.com/office/drawing/2014/main" id="{E1F8E363-AF78-4B38-A949-14666EC6A0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57" name="Group 456">
                <a:extLst>
                  <a:ext uri="{FF2B5EF4-FFF2-40B4-BE49-F238E27FC236}">
                    <a16:creationId xmlns:a16="http://schemas.microsoft.com/office/drawing/2014/main" id="{3450D6CA-F85C-4F2B-8C99-C76A88BBF03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68" name="Oval 467">
                  <a:extLst>
                    <a:ext uri="{FF2B5EF4-FFF2-40B4-BE49-F238E27FC236}">
                      <a16:creationId xmlns:a16="http://schemas.microsoft.com/office/drawing/2014/main" id="{E3E64A22-D91B-4355-92DD-3C483AD06175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9" name="Oval 468">
                  <a:extLst>
                    <a:ext uri="{FF2B5EF4-FFF2-40B4-BE49-F238E27FC236}">
                      <a16:creationId xmlns:a16="http://schemas.microsoft.com/office/drawing/2014/main" id="{953E94C4-600E-4754-A20A-DCF08FAB783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0" name="Oval 469">
                  <a:extLst>
                    <a:ext uri="{FF2B5EF4-FFF2-40B4-BE49-F238E27FC236}">
                      <a16:creationId xmlns:a16="http://schemas.microsoft.com/office/drawing/2014/main" id="{80C48699-1FB9-4B56-BC52-EDEACA472D1B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1" name="Oval 470">
                  <a:extLst>
                    <a:ext uri="{FF2B5EF4-FFF2-40B4-BE49-F238E27FC236}">
                      <a16:creationId xmlns:a16="http://schemas.microsoft.com/office/drawing/2014/main" id="{04EA4937-E1F1-481A-B679-0792019429B2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BD018C23-1894-44A3-BB24-1B7BA2014C9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D8A892E9-1FBF-4FD5-9877-915252460F0C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048D812B-7E9B-4345-B12A-0AFF1200736A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401525FD-AD4B-4437-AE61-C84FE605CB6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2D3B5978-B1C4-4E5F-9E85-423CCEED6CC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69940C4F-0F72-4349-8BA7-0201AEB4DBF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5899D571-F793-4DA5-B254-84FD72C91A0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70D1D591-2951-4C7C-95CF-554EAEF8FA28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D69405CC-6FEB-4AD2-B7B1-D64E1B90628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F9CF12A1-878F-4EFF-AA5F-3815F454A68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FBF1B06C-D937-4B2C-B593-9529F5B6C5F2}"/>
                </a:ext>
              </a:extLst>
            </p:cNvPr>
            <p:cNvGrpSpPr/>
            <p:nvPr/>
          </p:nvGrpSpPr>
          <p:grpSpPr>
            <a:xfrm>
              <a:off x="7735411" y="2802969"/>
              <a:ext cx="2609224" cy="643538"/>
              <a:chOff x="330424" y="3751799"/>
              <a:chExt cx="15193725" cy="3747377"/>
            </a:xfrm>
          </p:grpSpPr>
          <p:sp>
            <p:nvSpPr>
              <p:cNvPr id="477" name="Arrow: Pentagon 476">
                <a:extLst>
                  <a:ext uri="{FF2B5EF4-FFF2-40B4-BE49-F238E27FC236}">
                    <a16:creationId xmlns:a16="http://schemas.microsoft.com/office/drawing/2014/main" id="{17D0238B-AD15-4250-8D3C-B72B5CF6637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F91DEE3C-CE79-4F9D-B99C-7362F457CB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79" name="Straight Connector 478">
                <a:extLst>
                  <a:ext uri="{FF2B5EF4-FFF2-40B4-BE49-F238E27FC236}">
                    <a16:creationId xmlns:a16="http://schemas.microsoft.com/office/drawing/2014/main" id="{160C01EC-46D8-4D6C-B457-09940DE7A318}"/>
                  </a:ext>
                </a:extLst>
              </p:cNvPr>
              <p:cNvCxnSpPr>
                <a:cxnSpLocks/>
                <a:endCxn id="51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7376C03A-EE92-4091-80B4-4E8253F683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4626F678-0D9D-493E-B8DC-F2025BD803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72641784-CE60-4C12-AA84-CCDB1C921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12F8BC9C-2D75-41B9-BF18-2E41516DCFE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84" name="Oval 483">
                <a:extLst>
                  <a:ext uri="{FF2B5EF4-FFF2-40B4-BE49-F238E27FC236}">
                    <a16:creationId xmlns:a16="http://schemas.microsoft.com/office/drawing/2014/main" id="{7EF52D04-5899-4126-B761-8DFFEFB4909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85" name="Straight Connector 484">
                <a:extLst>
                  <a:ext uri="{FF2B5EF4-FFF2-40B4-BE49-F238E27FC236}">
                    <a16:creationId xmlns:a16="http://schemas.microsoft.com/office/drawing/2014/main" id="{47378249-2808-471D-BCE1-C4DBED095E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0F44670B-5E37-48E8-A5C7-DF48C6B38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C980CBEF-1DB8-4EC1-9C86-21A4ADDDAB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04E696A6-636B-499C-A774-A1D51EC079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2CADFDF3-563C-4E24-A415-10037AA0B0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CA8E437B-B0A7-4E3D-BE25-2723ACFEE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9B9543E7-7747-40E2-BAFE-5545F92BC1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92" name="Group 491">
                <a:extLst>
                  <a:ext uri="{FF2B5EF4-FFF2-40B4-BE49-F238E27FC236}">
                    <a16:creationId xmlns:a16="http://schemas.microsoft.com/office/drawing/2014/main" id="{CE5D35EA-D4B6-4FD8-9A89-710085D8622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15" name="Oval 514">
                  <a:extLst>
                    <a:ext uri="{FF2B5EF4-FFF2-40B4-BE49-F238E27FC236}">
                      <a16:creationId xmlns:a16="http://schemas.microsoft.com/office/drawing/2014/main" id="{79BDC24A-38F5-40F6-8148-58602DA03361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6" name="Oval 515">
                  <a:extLst>
                    <a:ext uri="{FF2B5EF4-FFF2-40B4-BE49-F238E27FC236}">
                      <a16:creationId xmlns:a16="http://schemas.microsoft.com/office/drawing/2014/main" id="{4A9535A1-4F99-41CA-8E35-A4BB7C7228DD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7" name="Oval 516">
                  <a:extLst>
                    <a:ext uri="{FF2B5EF4-FFF2-40B4-BE49-F238E27FC236}">
                      <a16:creationId xmlns:a16="http://schemas.microsoft.com/office/drawing/2014/main" id="{F8F9BF16-62FD-4568-AC68-24824099C6A0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8" name="Oval 517">
                  <a:extLst>
                    <a:ext uri="{FF2B5EF4-FFF2-40B4-BE49-F238E27FC236}">
                      <a16:creationId xmlns:a16="http://schemas.microsoft.com/office/drawing/2014/main" id="{C45BC8BF-F1A0-41A4-BE18-FB7BBF4716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93" name="Oval 492">
                <a:extLst>
                  <a:ext uri="{FF2B5EF4-FFF2-40B4-BE49-F238E27FC236}">
                    <a16:creationId xmlns:a16="http://schemas.microsoft.com/office/drawing/2014/main" id="{AA1C1C14-A6D4-42E0-BF97-5791F1410F4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6166F5D2-5094-4220-A2F9-A61BE2938D8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78E16DB7-DA78-4700-99CE-6D9ED02A62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96" name="Oval 495">
                <a:extLst>
                  <a:ext uri="{FF2B5EF4-FFF2-40B4-BE49-F238E27FC236}">
                    <a16:creationId xmlns:a16="http://schemas.microsoft.com/office/drawing/2014/main" id="{7B3A708C-8033-4786-B8A4-89D3C2B9F5E5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97" name="Oval 496">
                <a:extLst>
                  <a:ext uri="{FF2B5EF4-FFF2-40B4-BE49-F238E27FC236}">
                    <a16:creationId xmlns:a16="http://schemas.microsoft.com/office/drawing/2014/main" id="{72591957-6EDC-42D8-A5EA-A18E62F1E06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FE87E0D4-084E-4C10-B37A-49AD9010D6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891FD1C0-82FF-43EF-A1A3-022AC605A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00" name="Group 499">
                <a:extLst>
                  <a:ext uri="{FF2B5EF4-FFF2-40B4-BE49-F238E27FC236}">
                    <a16:creationId xmlns:a16="http://schemas.microsoft.com/office/drawing/2014/main" id="{E673D08B-5012-4BC3-A2A7-A501619AB56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11" name="Oval 510">
                  <a:extLst>
                    <a:ext uri="{FF2B5EF4-FFF2-40B4-BE49-F238E27FC236}">
                      <a16:creationId xmlns:a16="http://schemas.microsoft.com/office/drawing/2014/main" id="{94A1863B-491F-4BE7-9670-F20740F2207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2" name="Oval 511">
                  <a:extLst>
                    <a:ext uri="{FF2B5EF4-FFF2-40B4-BE49-F238E27FC236}">
                      <a16:creationId xmlns:a16="http://schemas.microsoft.com/office/drawing/2014/main" id="{92487B39-719A-4EB7-BA43-6F941E4BB8AF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3" name="Oval 512">
                  <a:extLst>
                    <a:ext uri="{FF2B5EF4-FFF2-40B4-BE49-F238E27FC236}">
                      <a16:creationId xmlns:a16="http://schemas.microsoft.com/office/drawing/2014/main" id="{70595B5C-6B13-45FE-9512-18C6A7414C2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4" name="Oval 513">
                  <a:extLst>
                    <a:ext uri="{FF2B5EF4-FFF2-40B4-BE49-F238E27FC236}">
                      <a16:creationId xmlns:a16="http://schemas.microsoft.com/office/drawing/2014/main" id="{ED65D217-372E-4E05-924F-29AE119C68E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01" name="Oval 500">
                <a:extLst>
                  <a:ext uri="{FF2B5EF4-FFF2-40B4-BE49-F238E27FC236}">
                    <a16:creationId xmlns:a16="http://schemas.microsoft.com/office/drawing/2014/main" id="{74C29BDA-6708-4233-9631-60EE69F03ED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2" name="Oval 501">
                <a:extLst>
                  <a:ext uri="{FF2B5EF4-FFF2-40B4-BE49-F238E27FC236}">
                    <a16:creationId xmlns:a16="http://schemas.microsoft.com/office/drawing/2014/main" id="{E6D01FD7-C5CD-4B43-9B82-3D37C7F2B0C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3" name="Oval 502">
                <a:extLst>
                  <a:ext uri="{FF2B5EF4-FFF2-40B4-BE49-F238E27FC236}">
                    <a16:creationId xmlns:a16="http://schemas.microsoft.com/office/drawing/2014/main" id="{39891905-0FEA-4758-939D-9667C10B2932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4" name="Oval 503">
                <a:extLst>
                  <a:ext uri="{FF2B5EF4-FFF2-40B4-BE49-F238E27FC236}">
                    <a16:creationId xmlns:a16="http://schemas.microsoft.com/office/drawing/2014/main" id="{41DB6572-9695-47EA-9E76-32FA832122C7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5" name="Oval 504">
                <a:extLst>
                  <a:ext uri="{FF2B5EF4-FFF2-40B4-BE49-F238E27FC236}">
                    <a16:creationId xmlns:a16="http://schemas.microsoft.com/office/drawing/2014/main" id="{2DAD10BE-9C96-481E-B6CE-B7C632DA4A2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6" name="Oval 505">
                <a:extLst>
                  <a:ext uri="{FF2B5EF4-FFF2-40B4-BE49-F238E27FC236}">
                    <a16:creationId xmlns:a16="http://schemas.microsoft.com/office/drawing/2014/main" id="{578F2078-D6F8-4DDD-BFD8-4B3919D5724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7" name="Oval 506">
                <a:extLst>
                  <a:ext uri="{FF2B5EF4-FFF2-40B4-BE49-F238E27FC236}">
                    <a16:creationId xmlns:a16="http://schemas.microsoft.com/office/drawing/2014/main" id="{AB696CCA-F1DA-4228-9F7F-0D86E31DC48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8" name="Oval 507">
                <a:extLst>
                  <a:ext uri="{FF2B5EF4-FFF2-40B4-BE49-F238E27FC236}">
                    <a16:creationId xmlns:a16="http://schemas.microsoft.com/office/drawing/2014/main" id="{40690A6B-E1F1-4BA6-A095-1D9F603071B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6F52D7A5-BBB3-4E3A-AB23-ECCFEFF220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0" name="Oval 509">
                <a:extLst>
                  <a:ext uri="{FF2B5EF4-FFF2-40B4-BE49-F238E27FC236}">
                    <a16:creationId xmlns:a16="http://schemas.microsoft.com/office/drawing/2014/main" id="{259E2901-DB12-4829-A849-D3A85CE272D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3" name="Group 522">
              <a:extLst>
                <a:ext uri="{FF2B5EF4-FFF2-40B4-BE49-F238E27FC236}">
                  <a16:creationId xmlns:a16="http://schemas.microsoft.com/office/drawing/2014/main" id="{ECFEA3D4-55DA-41E3-82E4-0E1B429C966B}"/>
                </a:ext>
              </a:extLst>
            </p:cNvPr>
            <p:cNvGrpSpPr/>
            <p:nvPr/>
          </p:nvGrpSpPr>
          <p:grpSpPr>
            <a:xfrm>
              <a:off x="3830232" y="5418430"/>
              <a:ext cx="2609224" cy="643538"/>
              <a:chOff x="330424" y="3751799"/>
              <a:chExt cx="15193725" cy="3747377"/>
            </a:xfrm>
          </p:grpSpPr>
          <p:sp>
            <p:nvSpPr>
              <p:cNvPr id="868" name="Arrow: Pentagon 867">
                <a:extLst>
                  <a:ext uri="{FF2B5EF4-FFF2-40B4-BE49-F238E27FC236}">
                    <a16:creationId xmlns:a16="http://schemas.microsoft.com/office/drawing/2014/main" id="{78C0B67B-8140-427D-BC5F-F505F49536F0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869" name="Straight Connector 868">
                <a:extLst>
                  <a:ext uri="{FF2B5EF4-FFF2-40B4-BE49-F238E27FC236}">
                    <a16:creationId xmlns:a16="http://schemas.microsoft.com/office/drawing/2014/main" id="{EB5901B3-C933-4EEE-A157-E766B3EC28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0" name="Straight Connector 869">
                <a:extLst>
                  <a:ext uri="{FF2B5EF4-FFF2-40B4-BE49-F238E27FC236}">
                    <a16:creationId xmlns:a16="http://schemas.microsoft.com/office/drawing/2014/main" id="{6D661CE2-2884-48EE-9F1A-D951AAF1EA6A}"/>
                  </a:ext>
                </a:extLst>
              </p:cNvPr>
              <p:cNvCxnSpPr>
                <a:cxnSpLocks/>
                <a:endCxn id="90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1" name="Straight Connector 870">
                <a:extLst>
                  <a:ext uri="{FF2B5EF4-FFF2-40B4-BE49-F238E27FC236}">
                    <a16:creationId xmlns:a16="http://schemas.microsoft.com/office/drawing/2014/main" id="{F375B046-1065-46E1-A55C-90A445F3C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F7FE3D1B-703D-44C3-8336-50E2AB309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0931A829-4C8B-4E24-80B0-42763C21F8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74" name="Oval 873">
                <a:extLst>
                  <a:ext uri="{FF2B5EF4-FFF2-40B4-BE49-F238E27FC236}">
                    <a16:creationId xmlns:a16="http://schemas.microsoft.com/office/drawing/2014/main" id="{9C23A9AC-2224-4AC1-AACF-7303DF49B94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75" name="Oval 874">
                <a:extLst>
                  <a:ext uri="{FF2B5EF4-FFF2-40B4-BE49-F238E27FC236}">
                    <a16:creationId xmlns:a16="http://schemas.microsoft.com/office/drawing/2014/main" id="{A8DD1ADB-FBA6-4292-8C4F-33E211234817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76" name="Straight Connector 875">
                <a:extLst>
                  <a:ext uri="{FF2B5EF4-FFF2-40B4-BE49-F238E27FC236}">
                    <a16:creationId xmlns:a16="http://schemas.microsoft.com/office/drawing/2014/main" id="{15DBFE75-6780-45AB-BE91-286A5DDC77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7" name="Straight Connector 876">
                <a:extLst>
                  <a:ext uri="{FF2B5EF4-FFF2-40B4-BE49-F238E27FC236}">
                    <a16:creationId xmlns:a16="http://schemas.microsoft.com/office/drawing/2014/main" id="{1ADEFBF0-2D97-41C2-AD41-E93C9F7B7F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8" name="Straight Connector 877">
                <a:extLst>
                  <a:ext uri="{FF2B5EF4-FFF2-40B4-BE49-F238E27FC236}">
                    <a16:creationId xmlns:a16="http://schemas.microsoft.com/office/drawing/2014/main" id="{085E8075-5A30-4F76-BC50-80D924BE6B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9" name="Straight Connector 878">
                <a:extLst>
                  <a:ext uri="{FF2B5EF4-FFF2-40B4-BE49-F238E27FC236}">
                    <a16:creationId xmlns:a16="http://schemas.microsoft.com/office/drawing/2014/main" id="{B9C7D945-2CF4-4CDA-B8C5-F0F8A37DDF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0" name="Straight Connector 879">
                <a:extLst>
                  <a:ext uri="{FF2B5EF4-FFF2-40B4-BE49-F238E27FC236}">
                    <a16:creationId xmlns:a16="http://schemas.microsoft.com/office/drawing/2014/main" id="{7FA2D360-8606-4DC7-AF46-8F070ED1EA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1" name="Straight Connector 880">
                <a:extLst>
                  <a:ext uri="{FF2B5EF4-FFF2-40B4-BE49-F238E27FC236}">
                    <a16:creationId xmlns:a16="http://schemas.microsoft.com/office/drawing/2014/main" id="{E32C78AD-1550-47CE-9B27-AC9B8776B3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2" name="Straight Connector 881">
                <a:extLst>
                  <a:ext uri="{FF2B5EF4-FFF2-40B4-BE49-F238E27FC236}">
                    <a16:creationId xmlns:a16="http://schemas.microsoft.com/office/drawing/2014/main" id="{3B30155E-8910-430D-BA67-0F58CE1226A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83" name="Group 882">
                <a:extLst>
                  <a:ext uri="{FF2B5EF4-FFF2-40B4-BE49-F238E27FC236}">
                    <a16:creationId xmlns:a16="http://schemas.microsoft.com/office/drawing/2014/main" id="{5BAC4591-BCFB-4E0C-814A-E14813C859F6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906" name="Oval 905">
                  <a:extLst>
                    <a:ext uri="{FF2B5EF4-FFF2-40B4-BE49-F238E27FC236}">
                      <a16:creationId xmlns:a16="http://schemas.microsoft.com/office/drawing/2014/main" id="{9CFDC351-3CE4-4D54-B36C-34E19CC6150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7" name="Oval 906">
                  <a:extLst>
                    <a:ext uri="{FF2B5EF4-FFF2-40B4-BE49-F238E27FC236}">
                      <a16:creationId xmlns:a16="http://schemas.microsoft.com/office/drawing/2014/main" id="{0BD308C9-BB21-4307-B1AF-C4AB895BA27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8" name="Oval 907">
                  <a:extLst>
                    <a:ext uri="{FF2B5EF4-FFF2-40B4-BE49-F238E27FC236}">
                      <a16:creationId xmlns:a16="http://schemas.microsoft.com/office/drawing/2014/main" id="{D9286101-25AA-45FF-B3C2-3FD1438FAEC7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9" name="Oval 908">
                  <a:extLst>
                    <a:ext uri="{FF2B5EF4-FFF2-40B4-BE49-F238E27FC236}">
                      <a16:creationId xmlns:a16="http://schemas.microsoft.com/office/drawing/2014/main" id="{631D9B79-C5FC-4901-A98B-F2F43FDB5A7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84" name="Oval 883">
                <a:extLst>
                  <a:ext uri="{FF2B5EF4-FFF2-40B4-BE49-F238E27FC236}">
                    <a16:creationId xmlns:a16="http://schemas.microsoft.com/office/drawing/2014/main" id="{EA27341E-31DA-4AEF-A389-01ABA7153D8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85" name="Straight Connector 884">
                <a:extLst>
                  <a:ext uri="{FF2B5EF4-FFF2-40B4-BE49-F238E27FC236}">
                    <a16:creationId xmlns:a16="http://schemas.microsoft.com/office/drawing/2014/main" id="{EA67B247-4327-467D-8ECD-87F9EF7AFF0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6" name="Straight Connector 885">
                <a:extLst>
                  <a:ext uri="{FF2B5EF4-FFF2-40B4-BE49-F238E27FC236}">
                    <a16:creationId xmlns:a16="http://schemas.microsoft.com/office/drawing/2014/main" id="{3A87098D-A0BC-4AAF-B0F5-6E1B717A11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87" name="Oval 886">
                <a:extLst>
                  <a:ext uri="{FF2B5EF4-FFF2-40B4-BE49-F238E27FC236}">
                    <a16:creationId xmlns:a16="http://schemas.microsoft.com/office/drawing/2014/main" id="{F692EAFC-FA21-4E52-8C3B-EDCEB5AC6B90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88" name="Oval 887">
                <a:extLst>
                  <a:ext uri="{FF2B5EF4-FFF2-40B4-BE49-F238E27FC236}">
                    <a16:creationId xmlns:a16="http://schemas.microsoft.com/office/drawing/2014/main" id="{61A3521C-CED0-4EBB-A8C3-619CD00C5B82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89" name="Straight Connector 888">
                <a:extLst>
                  <a:ext uri="{FF2B5EF4-FFF2-40B4-BE49-F238E27FC236}">
                    <a16:creationId xmlns:a16="http://schemas.microsoft.com/office/drawing/2014/main" id="{7B966AEF-062D-401A-9F12-702D91D36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90" name="Straight Connector 889">
                <a:extLst>
                  <a:ext uri="{FF2B5EF4-FFF2-40B4-BE49-F238E27FC236}">
                    <a16:creationId xmlns:a16="http://schemas.microsoft.com/office/drawing/2014/main" id="{7F5B8DED-DC2A-40D8-9D20-DE0D5E717C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91" name="Group 890">
                <a:extLst>
                  <a:ext uri="{FF2B5EF4-FFF2-40B4-BE49-F238E27FC236}">
                    <a16:creationId xmlns:a16="http://schemas.microsoft.com/office/drawing/2014/main" id="{EB8AF824-E5F7-487C-AD57-31DAF178F10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902" name="Oval 901">
                  <a:extLst>
                    <a:ext uri="{FF2B5EF4-FFF2-40B4-BE49-F238E27FC236}">
                      <a16:creationId xmlns:a16="http://schemas.microsoft.com/office/drawing/2014/main" id="{86222CD9-C4F6-4720-B468-C207DA946B99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3" name="Oval 902">
                  <a:extLst>
                    <a:ext uri="{FF2B5EF4-FFF2-40B4-BE49-F238E27FC236}">
                      <a16:creationId xmlns:a16="http://schemas.microsoft.com/office/drawing/2014/main" id="{A3949AC2-F704-4A7A-86B4-94A5FFF38D26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4" name="Oval 903">
                  <a:extLst>
                    <a:ext uri="{FF2B5EF4-FFF2-40B4-BE49-F238E27FC236}">
                      <a16:creationId xmlns:a16="http://schemas.microsoft.com/office/drawing/2014/main" id="{47AD36DC-33CC-42E0-BC4C-31E528955316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5" name="Oval 904">
                  <a:extLst>
                    <a:ext uri="{FF2B5EF4-FFF2-40B4-BE49-F238E27FC236}">
                      <a16:creationId xmlns:a16="http://schemas.microsoft.com/office/drawing/2014/main" id="{F78CB799-534A-4F14-9321-95AE1F88C20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92" name="Oval 891">
                <a:extLst>
                  <a:ext uri="{FF2B5EF4-FFF2-40B4-BE49-F238E27FC236}">
                    <a16:creationId xmlns:a16="http://schemas.microsoft.com/office/drawing/2014/main" id="{634658BB-E9BF-448D-8F9F-A9E280CCE35A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3" name="Oval 892">
                <a:extLst>
                  <a:ext uri="{FF2B5EF4-FFF2-40B4-BE49-F238E27FC236}">
                    <a16:creationId xmlns:a16="http://schemas.microsoft.com/office/drawing/2014/main" id="{42290177-42E9-4281-8516-83D97B7E5883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4" name="Oval 893">
                <a:extLst>
                  <a:ext uri="{FF2B5EF4-FFF2-40B4-BE49-F238E27FC236}">
                    <a16:creationId xmlns:a16="http://schemas.microsoft.com/office/drawing/2014/main" id="{004EE776-E28A-4687-BE62-8BE4E8CEDE4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5" name="Oval 894">
                <a:extLst>
                  <a:ext uri="{FF2B5EF4-FFF2-40B4-BE49-F238E27FC236}">
                    <a16:creationId xmlns:a16="http://schemas.microsoft.com/office/drawing/2014/main" id="{CD7D8C29-FF07-4AE7-AA96-873E9B71690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6" name="Oval 895">
                <a:extLst>
                  <a:ext uri="{FF2B5EF4-FFF2-40B4-BE49-F238E27FC236}">
                    <a16:creationId xmlns:a16="http://schemas.microsoft.com/office/drawing/2014/main" id="{7C301184-6E93-422F-986B-DCC53A1F839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7" name="Oval 896">
                <a:extLst>
                  <a:ext uri="{FF2B5EF4-FFF2-40B4-BE49-F238E27FC236}">
                    <a16:creationId xmlns:a16="http://schemas.microsoft.com/office/drawing/2014/main" id="{C6B04982-1A51-46DD-AF28-5FC8B1C96655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8" name="Oval 897">
                <a:extLst>
                  <a:ext uri="{FF2B5EF4-FFF2-40B4-BE49-F238E27FC236}">
                    <a16:creationId xmlns:a16="http://schemas.microsoft.com/office/drawing/2014/main" id="{43AC9585-68F3-4A59-A811-C871B9848FEB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9" name="Oval 898">
                <a:extLst>
                  <a:ext uri="{FF2B5EF4-FFF2-40B4-BE49-F238E27FC236}">
                    <a16:creationId xmlns:a16="http://schemas.microsoft.com/office/drawing/2014/main" id="{E1F1F4EC-0E73-45D5-92D9-0E5ED49880B5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0" name="Oval 899">
                <a:extLst>
                  <a:ext uri="{FF2B5EF4-FFF2-40B4-BE49-F238E27FC236}">
                    <a16:creationId xmlns:a16="http://schemas.microsoft.com/office/drawing/2014/main" id="{1D2B2177-198E-4A08-9708-4FA3A1745C3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1" name="Oval 900">
                <a:extLst>
                  <a:ext uri="{FF2B5EF4-FFF2-40B4-BE49-F238E27FC236}">
                    <a16:creationId xmlns:a16="http://schemas.microsoft.com/office/drawing/2014/main" id="{58AC7C8E-46BB-4ED8-960C-A44696ADB77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F9848C83-CCEE-46B7-8C55-BDDCBEB39E2E}"/>
                </a:ext>
              </a:extLst>
            </p:cNvPr>
            <p:cNvGrpSpPr/>
            <p:nvPr/>
          </p:nvGrpSpPr>
          <p:grpSpPr>
            <a:xfrm>
              <a:off x="11030224" y="3429159"/>
              <a:ext cx="2609224" cy="643538"/>
              <a:chOff x="330424" y="3751799"/>
              <a:chExt cx="15193725" cy="3747377"/>
            </a:xfrm>
          </p:grpSpPr>
          <p:sp>
            <p:nvSpPr>
              <p:cNvPr id="784" name="Arrow: Pentagon 783">
                <a:extLst>
                  <a:ext uri="{FF2B5EF4-FFF2-40B4-BE49-F238E27FC236}">
                    <a16:creationId xmlns:a16="http://schemas.microsoft.com/office/drawing/2014/main" id="{0AD51EC6-3BAC-4C7B-9EEA-27D199DEA0A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85" name="Straight Connector 784">
                <a:extLst>
                  <a:ext uri="{FF2B5EF4-FFF2-40B4-BE49-F238E27FC236}">
                    <a16:creationId xmlns:a16="http://schemas.microsoft.com/office/drawing/2014/main" id="{04408750-BA37-481D-B80F-4A9D520CAA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6" name="Straight Connector 785">
                <a:extLst>
                  <a:ext uri="{FF2B5EF4-FFF2-40B4-BE49-F238E27FC236}">
                    <a16:creationId xmlns:a16="http://schemas.microsoft.com/office/drawing/2014/main" id="{9C2D634B-BC13-428E-BBDD-DC9090BF0DF7}"/>
                  </a:ext>
                </a:extLst>
              </p:cNvPr>
              <p:cNvCxnSpPr>
                <a:cxnSpLocks/>
                <a:endCxn id="82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7" name="Straight Connector 786">
                <a:extLst>
                  <a:ext uri="{FF2B5EF4-FFF2-40B4-BE49-F238E27FC236}">
                    <a16:creationId xmlns:a16="http://schemas.microsoft.com/office/drawing/2014/main" id="{12AC5FC1-665F-4675-9928-88FA5FE2DE8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8" name="Straight Connector 787">
                <a:extLst>
                  <a:ext uri="{FF2B5EF4-FFF2-40B4-BE49-F238E27FC236}">
                    <a16:creationId xmlns:a16="http://schemas.microsoft.com/office/drawing/2014/main" id="{0C47F0F2-4D25-4923-9558-DC4C198FCB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9" name="Straight Connector 788">
                <a:extLst>
                  <a:ext uri="{FF2B5EF4-FFF2-40B4-BE49-F238E27FC236}">
                    <a16:creationId xmlns:a16="http://schemas.microsoft.com/office/drawing/2014/main" id="{9641242F-83D1-49E1-94AE-B91EF50D53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90" name="Oval 789">
                <a:extLst>
                  <a:ext uri="{FF2B5EF4-FFF2-40B4-BE49-F238E27FC236}">
                    <a16:creationId xmlns:a16="http://schemas.microsoft.com/office/drawing/2014/main" id="{2376AB46-EEF1-491B-9AF5-D3263F64FB48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91" name="Oval 790">
                <a:extLst>
                  <a:ext uri="{FF2B5EF4-FFF2-40B4-BE49-F238E27FC236}">
                    <a16:creationId xmlns:a16="http://schemas.microsoft.com/office/drawing/2014/main" id="{FC433084-7451-467E-B345-D16E836D53B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92" name="Straight Connector 791">
                <a:extLst>
                  <a:ext uri="{FF2B5EF4-FFF2-40B4-BE49-F238E27FC236}">
                    <a16:creationId xmlns:a16="http://schemas.microsoft.com/office/drawing/2014/main" id="{26BEBC84-9796-47B7-AB67-B1E10A0980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3" name="Straight Connector 792">
                <a:extLst>
                  <a:ext uri="{FF2B5EF4-FFF2-40B4-BE49-F238E27FC236}">
                    <a16:creationId xmlns:a16="http://schemas.microsoft.com/office/drawing/2014/main" id="{23A10FC7-C42E-408D-A870-247C189F7D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4" name="Straight Connector 793">
                <a:extLst>
                  <a:ext uri="{FF2B5EF4-FFF2-40B4-BE49-F238E27FC236}">
                    <a16:creationId xmlns:a16="http://schemas.microsoft.com/office/drawing/2014/main" id="{2B583766-5EA8-4F33-BF18-3396854ED8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5" name="Straight Connector 794">
                <a:extLst>
                  <a:ext uri="{FF2B5EF4-FFF2-40B4-BE49-F238E27FC236}">
                    <a16:creationId xmlns:a16="http://schemas.microsoft.com/office/drawing/2014/main" id="{DFD7B501-302D-498E-9538-1C8A8AABF4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6" name="Straight Connector 795">
                <a:extLst>
                  <a:ext uri="{FF2B5EF4-FFF2-40B4-BE49-F238E27FC236}">
                    <a16:creationId xmlns:a16="http://schemas.microsoft.com/office/drawing/2014/main" id="{0C286FB7-49B4-421C-81F7-E4D988104D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7" name="Straight Connector 796">
                <a:extLst>
                  <a:ext uri="{FF2B5EF4-FFF2-40B4-BE49-F238E27FC236}">
                    <a16:creationId xmlns:a16="http://schemas.microsoft.com/office/drawing/2014/main" id="{C7C8CB63-A443-47AE-8845-FA62737C3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8" name="Straight Connector 797">
                <a:extLst>
                  <a:ext uri="{FF2B5EF4-FFF2-40B4-BE49-F238E27FC236}">
                    <a16:creationId xmlns:a16="http://schemas.microsoft.com/office/drawing/2014/main" id="{7FE51B19-511A-4284-932F-6B6E2605DC2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99" name="Group 798">
                <a:extLst>
                  <a:ext uri="{FF2B5EF4-FFF2-40B4-BE49-F238E27FC236}">
                    <a16:creationId xmlns:a16="http://schemas.microsoft.com/office/drawing/2014/main" id="{690C547E-799C-4B75-BA3C-66BB2AB614FD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22" name="Oval 821">
                  <a:extLst>
                    <a:ext uri="{FF2B5EF4-FFF2-40B4-BE49-F238E27FC236}">
                      <a16:creationId xmlns:a16="http://schemas.microsoft.com/office/drawing/2014/main" id="{00326997-10D5-4755-B966-4D2396E9C13A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3" name="Oval 822">
                  <a:extLst>
                    <a:ext uri="{FF2B5EF4-FFF2-40B4-BE49-F238E27FC236}">
                      <a16:creationId xmlns:a16="http://schemas.microsoft.com/office/drawing/2014/main" id="{A263C8B3-9994-4BB0-B9A5-F17760BA3C9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4" name="Oval 823">
                  <a:extLst>
                    <a:ext uri="{FF2B5EF4-FFF2-40B4-BE49-F238E27FC236}">
                      <a16:creationId xmlns:a16="http://schemas.microsoft.com/office/drawing/2014/main" id="{82E2ABEA-0761-4B71-B716-C432B6B0133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5" name="Oval 824">
                  <a:extLst>
                    <a:ext uri="{FF2B5EF4-FFF2-40B4-BE49-F238E27FC236}">
                      <a16:creationId xmlns:a16="http://schemas.microsoft.com/office/drawing/2014/main" id="{313DDE82-CFF5-42CE-AC3D-8D42A54AF67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0" name="Oval 799">
                <a:extLst>
                  <a:ext uri="{FF2B5EF4-FFF2-40B4-BE49-F238E27FC236}">
                    <a16:creationId xmlns:a16="http://schemas.microsoft.com/office/drawing/2014/main" id="{C62F930B-BD37-4006-9E98-425AA7847EF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01" name="Straight Connector 800">
                <a:extLst>
                  <a:ext uri="{FF2B5EF4-FFF2-40B4-BE49-F238E27FC236}">
                    <a16:creationId xmlns:a16="http://schemas.microsoft.com/office/drawing/2014/main" id="{3177147D-1A92-4D45-BC41-8BAF99CB1FA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2" name="Straight Connector 801">
                <a:extLst>
                  <a:ext uri="{FF2B5EF4-FFF2-40B4-BE49-F238E27FC236}">
                    <a16:creationId xmlns:a16="http://schemas.microsoft.com/office/drawing/2014/main" id="{B56D1871-4AD4-4F7E-8F9B-7E5504E44D8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03" name="Oval 802">
                <a:extLst>
                  <a:ext uri="{FF2B5EF4-FFF2-40B4-BE49-F238E27FC236}">
                    <a16:creationId xmlns:a16="http://schemas.microsoft.com/office/drawing/2014/main" id="{D277C345-8704-4F31-9008-FEEB7440DD6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04" name="Oval 803">
                <a:extLst>
                  <a:ext uri="{FF2B5EF4-FFF2-40B4-BE49-F238E27FC236}">
                    <a16:creationId xmlns:a16="http://schemas.microsoft.com/office/drawing/2014/main" id="{B6BDBA1B-C0E5-4204-B1C0-F0C6F558A2C5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05" name="Straight Connector 804">
                <a:extLst>
                  <a:ext uri="{FF2B5EF4-FFF2-40B4-BE49-F238E27FC236}">
                    <a16:creationId xmlns:a16="http://schemas.microsoft.com/office/drawing/2014/main" id="{7B0C6FBF-D4BA-4B1D-91BA-9AA450728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6" name="Straight Connector 805">
                <a:extLst>
                  <a:ext uri="{FF2B5EF4-FFF2-40B4-BE49-F238E27FC236}">
                    <a16:creationId xmlns:a16="http://schemas.microsoft.com/office/drawing/2014/main" id="{A0C07BDD-A509-483E-B26C-611A4A3C3DF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07" name="Group 806">
                <a:extLst>
                  <a:ext uri="{FF2B5EF4-FFF2-40B4-BE49-F238E27FC236}">
                    <a16:creationId xmlns:a16="http://schemas.microsoft.com/office/drawing/2014/main" id="{2941FA60-DAF3-421D-9D3E-3E332AD9211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8" name="Oval 817">
                  <a:extLst>
                    <a:ext uri="{FF2B5EF4-FFF2-40B4-BE49-F238E27FC236}">
                      <a16:creationId xmlns:a16="http://schemas.microsoft.com/office/drawing/2014/main" id="{3D47589C-BC18-447E-B94B-30F12457DFC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19" name="Oval 818">
                  <a:extLst>
                    <a:ext uri="{FF2B5EF4-FFF2-40B4-BE49-F238E27FC236}">
                      <a16:creationId xmlns:a16="http://schemas.microsoft.com/office/drawing/2014/main" id="{A7834024-9CC0-4DA8-B73F-239A3D038EB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0" name="Oval 819">
                  <a:extLst>
                    <a:ext uri="{FF2B5EF4-FFF2-40B4-BE49-F238E27FC236}">
                      <a16:creationId xmlns:a16="http://schemas.microsoft.com/office/drawing/2014/main" id="{60A29ED5-FEDF-44A5-8D96-8133BE3C036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1" name="Oval 820">
                  <a:extLst>
                    <a:ext uri="{FF2B5EF4-FFF2-40B4-BE49-F238E27FC236}">
                      <a16:creationId xmlns:a16="http://schemas.microsoft.com/office/drawing/2014/main" id="{3AE7B335-C84F-4575-AE75-8B7585552EC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8" name="Oval 807">
                <a:extLst>
                  <a:ext uri="{FF2B5EF4-FFF2-40B4-BE49-F238E27FC236}">
                    <a16:creationId xmlns:a16="http://schemas.microsoft.com/office/drawing/2014/main" id="{0C00A7D4-835F-44E2-9E21-AB517BCBE7A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9" name="Oval 808">
                <a:extLst>
                  <a:ext uri="{FF2B5EF4-FFF2-40B4-BE49-F238E27FC236}">
                    <a16:creationId xmlns:a16="http://schemas.microsoft.com/office/drawing/2014/main" id="{CF22A108-C5C4-41AE-AB62-8B68C56A031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0" name="Oval 809">
                <a:extLst>
                  <a:ext uri="{FF2B5EF4-FFF2-40B4-BE49-F238E27FC236}">
                    <a16:creationId xmlns:a16="http://schemas.microsoft.com/office/drawing/2014/main" id="{D8C41578-036C-42B9-BEB5-5E75D84B92F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1" name="Oval 810">
                <a:extLst>
                  <a:ext uri="{FF2B5EF4-FFF2-40B4-BE49-F238E27FC236}">
                    <a16:creationId xmlns:a16="http://schemas.microsoft.com/office/drawing/2014/main" id="{ED407F25-8CB6-4EDB-A595-40D3F12D077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2" name="Oval 811">
                <a:extLst>
                  <a:ext uri="{FF2B5EF4-FFF2-40B4-BE49-F238E27FC236}">
                    <a16:creationId xmlns:a16="http://schemas.microsoft.com/office/drawing/2014/main" id="{498ABD58-F06E-4B94-B9F4-5BECDB694D5B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3" name="Oval 812">
                <a:extLst>
                  <a:ext uri="{FF2B5EF4-FFF2-40B4-BE49-F238E27FC236}">
                    <a16:creationId xmlns:a16="http://schemas.microsoft.com/office/drawing/2014/main" id="{2A5ECB47-7295-4922-B7A4-DE5C21E753E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4" name="Oval 813">
                <a:extLst>
                  <a:ext uri="{FF2B5EF4-FFF2-40B4-BE49-F238E27FC236}">
                    <a16:creationId xmlns:a16="http://schemas.microsoft.com/office/drawing/2014/main" id="{96C5DCE1-56CC-4406-926A-925A3CE2D143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5" name="Oval 814">
                <a:extLst>
                  <a:ext uri="{FF2B5EF4-FFF2-40B4-BE49-F238E27FC236}">
                    <a16:creationId xmlns:a16="http://schemas.microsoft.com/office/drawing/2014/main" id="{D5224315-9247-4E9B-AFB5-9BDAB302860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6" name="Oval 815">
                <a:extLst>
                  <a:ext uri="{FF2B5EF4-FFF2-40B4-BE49-F238E27FC236}">
                    <a16:creationId xmlns:a16="http://schemas.microsoft.com/office/drawing/2014/main" id="{D95BD531-A95C-48CB-A040-5BFF3DAF0945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7" name="Oval 816">
                <a:extLst>
                  <a:ext uri="{FF2B5EF4-FFF2-40B4-BE49-F238E27FC236}">
                    <a16:creationId xmlns:a16="http://schemas.microsoft.com/office/drawing/2014/main" id="{4A546BC6-BC33-4D35-9FA6-D2508A5F1CA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6" name="Group 525">
              <a:extLst>
                <a:ext uri="{FF2B5EF4-FFF2-40B4-BE49-F238E27FC236}">
                  <a16:creationId xmlns:a16="http://schemas.microsoft.com/office/drawing/2014/main" id="{5B3F325B-D188-40CA-BD22-FEE074546883}"/>
                </a:ext>
              </a:extLst>
            </p:cNvPr>
            <p:cNvGrpSpPr/>
            <p:nvPr/>
          </p:nvGrpSpPr>
          <p:grpSpPr>
            <a:xfrm>
              <a:off x="5752331" y="6287627"/>
              <a:ext cx="2609224" cy="643538"/>
              <a:chOff x="330424" y="3751799"/>
              <a:chExt cx="15193725" cy="3747377"/>
            </a:xfrm>
          </p:grpSpPr>
          <p:sp>
            <p:nvSpPr>
              <p:cNvPr id="742" name="Arrow: Pentagon 741">
                <a:extLst>
                  <a:ext uri="{FF2B5EF4-FFF2-40B4-BE49-F238E27FC236}">
                    <a16:creationId xmlns:a16="http://schemas.microsoft.com/office/drawing/2014/main" id="{3B7B859B-C63A-4032-A178-5CFB8845C6D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43" name="Straight Connector 742">
                <a:extLst>
                  <a:ext uri="{FF2B5EF4-FFF2-40B4-BE49-F238E27FC236}">
                    <a16:creationId xmlns:a16="http://schemas.microsoft.com/office/drawing/2014/main" id="{A58BB82A-F0E5-49C1-8C10-1339FE8230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4" name="Straight Connector 743">
                <a:extLst>
                  <a:ext uri="{FF2B5EF4-FFF2-40B4-BE49-F238E27FC236}">
                    <a16:creationId xmlns:a16="http://schemas.microsoft.com/office/drawing/2014/main" id="{9718B50B-185B-4279-82A6-3E0315409A1B}"/>
                  </a:ext>
                </a:extLst>
              </p:cNvPr>
              <p:cNvCxnSpPr>
                <a:cxnSpLocks/>
                <a:endCxn id="78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5" name="Straight Connector 744">
                <a:extLst>
                  <a:ext uri="{FF2B5EF4-FFF2-40B4-BE49-F238E27FC236}">
                    <a16:creationId xmlns:a16="http://schemas.microsoft.com/office/drawing/2014/main" id="{1261DFA6-B203-4ABE-9FCB-85A87C6686D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6" name="Straight Connector 745">
                <a:extLst>
                  <a:ext uri="{FF2B5EF4-FFF2-40B4-BE49-F238E27FC236}">
                    <a16:creationId xmlns:a16="http://schemas.microsoft.com/office/drawing/2014/main" id="{F1D2B093-0767-4D3F-9846-088235520E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7" name="Straight Connector 746">
                <a:extLst>
                  <a:ext uri="{FF2B5EF4-FFF2-40B4-BE49-F238E27FC236}">
                    <a16:creationId xmlns:a16="http://schemas.microsoft.com/office/drawing/2014/main" id="{2F62253C-5EAC-4942-ACC0-844B97CA3CA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6D9041F9-0A68-4A1A-96C7-8889616A728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60DAB9A8-BDBC-4A96-9500-E36402A191F3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50" name="Straight Connector 749">
                <a:extLst>
                  <a:ext uri="{FF2B5EF4-FFF2-40B4-BE49-F238E27FC236}">
                    <a16:creationId xmlns:a16="http://schemas.microsoft.com/office/drawing/2014/main" id="{133AEAB9-DC9E-4D96-B77B-F87E9A700C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1" name="Straight Connector 750">
                <a:extLst>
                  <a:ext uri="{FF2B5EF4-FFF2-40B4-BE49-F238E27FC236}">
                    <a16:creationId xmlns:a16="http://schemas.microsoft.com/office/drawing/2014/main" id="{6EF305B6-A6BC-4870-9E64-2A80A79B78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2" name="Straight Connector 751">
                <a:extLst>
                  <a:ext uri="{FF2B5EF4-FFF2-40B4-BE49-F238E27FC236}">
                    <a16:creationId xmlns:a16="http://schemas.microsoft.com/office/drawing/2014/main" id="{D3A0A6D5-11FE-40E2-BE27-622B46B60E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3" name="Straight Connector 752">
                <a:extLst>
                  <a:ext uri="{FF2B5EF4-FFF2-40B4-BE49-F238E27FC236}">
                    <a16:creationId xmlns:a16="http://schemas.microsoft.com/office/drawing/2014/main" id="{B5EC1B65-3D80-4805-972A-628D6E7964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4" name="Straight Connector 753">
                <a:extLst>
                  <a:ext uri="{FF2B5EF4-FFF2-40B4-BE49-F238E27FC236}">
                    <a16:creationId xmlns:a16="http://schemas.microsoft.com/office/drawing/2014/main" id="{34C12D0B-7B53-4D99-8D5C-E57891853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5" name="Straight Connector 754">
                <a:extLst>
                  <a:ext uri="{FF2B5EF4-FFF2-40B4-BE49-F238E27FC236}">
                    <a16:creationId xmlns:a16="http://schemas.microsoft.com/office/drawing/2014/main" id="{253A1097-41F1-4971-92FE-D91706A19A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6" name="Straight Connector 755">
                <a:extLst>
                  <a:ext uri="{FF2B5EF4-FFF2-40B4-BE49-F238E27FC236}">
                    <a16:creationId xmlns:a16="http://schemas.microsoft.com/office/drawing/2014/main" id="{5576C8C2-27CB-4E72-B8D2-992615BFFC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57" name="Group 756">
                <a:extLst>
                  <a:ext uri="{FF2B5EF4-FFF2-40B4-BE49-F238E27FC236}">
                    <a16:creationId xmlns:a16="http://schemas.microsoft.com/office/drawing/2014/main" id="{DB43B953-2851-428E-93A4-C9B56E62361B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780" name="Oval 779">
                  <a:extLst>
                    <a:ext uri="{FF2B5EF4-FFF2-40B4-BE49-F238E27FC236}">
                      <a16:creationId xmlns:a16="http://schemas.microsoft.com/office/drawing/2014/main" id="{6F7172EF-6828-4C6D-B34B-AC64A49A0E8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1" name="Oval 780">
                  <a:extLst>
                    <a:ext uri="{FF2B5EF4-FFF2-40B4-BE49-F238E27FC236}">
                      <a16:creationId xmlns:a16="http://schemas.microsoft.com/office/drawing/2014/main" id="{E09F048F-AAAC-4465-AABD-4F2A030D280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2" name="Oval 781">
                  <a:extLst>
                    <a:ext uri="{FF2B5EF4-FFF2-40B4-BE49-F238E27FC236}">
                      <a16:creationId xmlns:a16="http://schemas.microsoft.com/office/drawing/2014/main" id="{20FBD098-52FD-47A1-93F5-6EAC08AF35E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3" name="Oval 782">
                  <a:extLst>
                    <a:ext uri="{FF2B5EF4-FFF2-40B4-BE49-F238E27FC236}">
                      <a16:creationId xmlns:a16="http://schemas.microsoft.com/office/drawing/2014/main" id="{49283FA7-51C0-4E8B-8BFF-290698A2A2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8C4A2FAE-C04B-4460-9FCD-7BB26083379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759" name="Straight Connector 758">
                <a:extLst>
                  <a:ext uri="{FF2B5EF4-FFF2-40B4-BE49-F238E27FC236}">
                    <a16:creationId xmlns:a16="http://schemas.microsoft.com/office/drawing/2014/main" id="{074797DF-D07C-4CFF-A645-6F27208438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0" name="Straight Connector 759">
                <a:extLst>
                  <a:ext uri="{FF2B5EF4-FFF2-40B4-BE49-F238E27FC236}">
                    <a16:creationId xmlns:a16="http://schemas.microsoft.com/office/drawing/2014/main" id="{BB3B6828-E0FF-4335-83D2-9E92FD962A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5DFE3A97-2C8B-4921-8703-8052F362575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A398F022-A1B3-4D47-A03C-29D2CE9A6837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63" name="Straight Connector 762">
                <a:extLst>
                  <a:ext uri="{FF2B5EF4-FFF2-40B4-BE49-F238E27FC236}">
                    <a16:creationId xmlns:a16="http://schemas.microsoft.com/office/drawing/2014/main" id="{F5336D7F-360F-4B45-B9A4-FD2CBB1D0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4" name="Straight Connector 763">
                <a:extLst>
                  <a:ext uri="{FF2B5EF4-FFF2-40B4-BE49-F238E27FC236}">
                    <a16:creationId xmlns:a16="http://schemas.microsoft.com/office/drawing/2014/main" id="{ED3908CE-24B5-470B-A28C-9E5838854C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047FD26B-B66A-4CE1-ADAB-3A0739806D20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776" name="Oval 775">
                  <a:extLst>
                    <a:ext uri="{FF2B5EF4-FFF2-40B4-BE49-F238E27FC236}">
                      <a16:creationId xmlns:a16="http://schemas.microsoft.com/office/drawing/2014/main" id="{4C9543F3-C863-42AE-9918-DC7DF73ED63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7" name="Oval 776">
                  <a:extLst>
                    <a:ext uri="{FF2B5EF4-FFF2-40B4-BE49-F238E27FC236}">
                      <a16:creationId xmlns:a16="http://schemas.microsoft.com/office/drawing/2014/main" id="{7D17FE72-9EE4-469C-B454-73FB7C8355A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8" name="Oval 777">
                  <a:extLst>
                    <a:ext uri="{FF2B5EF4-FFF2-40B4-BE49-F238E27FC236}">
                      <a16:creationId xmlns:a16="http://schemas.microsoft.com/office/drawing/2014/main" id="{651C1CEA-C76B-49D8-A69E-2481495AB14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9" name="Oval 778">
                  <a:extLst>
                    <a:ext uri="{FF2B5EF4-FFF2-40B4-BE49-F238E27FC236}">
                      <a16:creationId xmlns:a16="http://schemas.microsoft.com/office/drawing/2014/main" id="{6C6FF5A0-B1CA-4741-B639-62C47F650CAA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6E2481FF-2BCA-47E7-A225-4A63B650695B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B9EC9D5-AE57-4326-9F5C-6EE8E9DCA202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FA6A5DB2-743D-4531-A807-AA90B5A5845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B547DC9C-563B-4279-8A43-9E08F9B4E83B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D317774D-9601-4DC5-94D1-25327E7859C1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B13C9CB1-D326-4820-999D-3506BEA2B946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B36588BA-09DE-4DD2-BD59-F9FFB52E36D8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6AC16526-6E22-4B9A-B7D6-9CCC3E23949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5B97AFD-5D34-4FC7-8792-367961B6B75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5" name="Oval 774">
                <a:extLst>
                  <a:ext uri="{FF2B5EF4-FFF2-40B4-BE49-F238E27FC236}">
                    <a16:creationId xmlns:a16="http://schemas.microsoft.com/office/drawing/2014/main" id="{4A18FEF9-DB9C-41D8-897D-5FFAD7484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8" name="Group 527">
              <a:extLst>
                <a:ext uri="{FF2B5EF4-FFF2-40B4-BE49-F238E27FC236}">
                  <a16:creationId xmlns:a16="http://schemas.microsoft.com/office/drawing/2014/main" id="{DE4F85B5-8D7E-4AE3-8131-6D9F0173065E}"/>
                </a:ext>
              </a:extLst>
            </p:cNvPr>
            <p:cNvGrpSpPr/>
            <p:nvPr/>
          </p:nvGrpSpPr>
          <p:grpSpPr>
            <a:xfrm>
              <a:off x="12068686" y="6196200"/>
              <a:ext cx="2609224" cy="643538"/>
              <a:chOff x="330424" y="3751799"/>
              <a:chExt cx="15193725" cy="3747377"/>
            </a:xfrm>
          </p:grpSpPr>
          <p:sp>
            <p:nvSpPr>
              <p:cNvPr id="658" name="Arrow: Pentagon 657">
                <a:extLst>
                  <a:ext uri="{FF2B5EF4-FFF2-40B4-BE49-F238E27FC236}">
                    <a16:creationId xmlns:a16="http://schemas.microsoft.com/office/drawing/2014/main" id="{7FD99CB4-5FC5-48DE-9368-E2A905A961D9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59" name="Straight Connector 658">
                <a:extLst>
                  <a:ext uri="{FF2B5EF4-FFF2-40B4-BE49-F238E27FC236}">
                    <a16:creationId xmlns:a16="http://schemas.microsoft.com/office/drawing/2014/main" id="{5DA1C7D1-FB23-4273-B7D0-408F141C08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791280A7-598B-485A-BFA4-F80BAA735A85}"/>
                  </a:ext>
                </a:extLst>
              </p:cNvPr>
              <p:cNvCxnSpPr>
                <a:cxnSpLocks/>
                <a:endCxn id="69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1" name="Straight Connector 660">
                <a:extLst>
                  <a:ext uri="{FF2B5EF4-FFF2-40B4-BE49-F238E27FC236}">
                    <a16:creationId xmlns:a16="http://schemas.microsoft.com/office/drawing/2014/main" id="{21FA7DFD-724A-4E5E-928A-3882DDDB93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2" name="Straight Connector 661">
                <a:extLst>
                  <a:ext uri="{FF2B5EF4-FFF2-40B4-BE49-F238E27FC236}">
                    <a16:creationId xmlns:a16="http://schemas.microsoft.com/office/drawing/2014/main" id="{9DCAE51C-C314-4DFA-B66E-9ABF81A88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3" name="Straight Connector 662">
                <a:extLst>
                  <a:ext uri="{FF2B5EF4-FFF2-40B4-BE49-F238E27FC236}">
                    <a16:creationId xmlns:a16="http://schemas.microsoft.com/office/drawing/2014/main" id="{FA86769F-0B19-49F9-9E08-FB91B877E4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4" name="Oval 663">
                <a:extLst>
                  <a:ext uri="{FF2B5EF4-FFF2-40B4-BE49-F238E27FC236}">
                    <a16:creationId xmlns:a16="http://schemas.microsoft.com/office/drawing/2014/main" id="{50CBCBE2-16D6-4756-AE18-82E824438680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8124B106-8A81-4B80-9FD7-B88C9FE3E421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66" name="Straight Connector 665">
                <a:extLst>
                  <a:ext uri="{FF2B5EF4-FFF2-40B4-BE49-F238E27FC236}">
                    <a16:creationId xmlns:a16="http://schemas.microsoft.com/office/drawing/2014/main" id="{6F865777-C4C5-4F67-A35C-A8A180FA57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7" name="Straight Connector 666">
                <a:extLst>
                  <a:ext uri="{FF2B5EF4-FFF2-40B4-BE49-F238E27FC236}">
                    <a16:creationId xmlns:a16="http://schemas.microsoft.com/office/drawing/2014/main" id="{B9CB82C6-6152-476C-B832-B379E58527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8" name="Straight Connector 667">
                <a:extLst>
                  <a:ext uri="{FF2B5EF4-FFF2-40B4-BE49-F238E27FC236}">
                    <a16:creationId xmlns:a16="http://schemas.microsoft.com/office/drawing/2014/main" id="{0B69AC65-8EF1-4E6C-BEDF-60DDEE92FE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9" name="Straight Connector 668">
                <a:extLst>
                  <a:ext uri="{FF2B5EF4-FFF2-40B4-BE49-F238E27FC236}">
                    <a16:creationId xmlns:a16="http://schemas.microsoft.com/office/drawing/2014/main" id="{7F219D09-6586-4123-9329-72831FFC27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0" name="Straight Connector 669">
                <a:extLst>
                  <a:ext uri="{FF2B5EF4-FFF2-40B4-BE49-F238E27FC236}">
                    <a16:creationId xmlns:a16="http://schemas.microsoft.com/office/drawing/2014/main" id="{1D1B0887-23E5-409E-8553-D218B15647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1" name="Straight Connector 670">
                <a:extLst>
                  <a:ext uri="{FF2B5EF4-FFF2-40B4-BE49-F238E27FC236}">
                    <a16:creationId xmlns:a16="http://schemas.microsoft.com/office/drawing/2014/main" id="{C4010D17-46BB-45F5-B9A1-8C83C901ED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2" name="Straight Connector 671">
                <a:extLst>
                  <a:ext uri="{FF2B5EF4-FFF2-40B4-BE49-F238E27FC236}">
                    <a16:creationId xmlns:a16="http://schemas.microsoft.com/office/drawing/2014/main" id="{8DA4977D-B284-4E20-A1A9-0E6E4AB3BA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73" name="Group 672">
                <a:extLst>
                  <a:ext uri="{FF2B5EF4-FFF2-40B4-BE49-F238E27FC236}">
                    <a16:creationId xmlns:a16="http://schemas.microsoft.com/office/drawing/2014/main" id="{C52071CE-9638-4254-99A7-50C6AB6D243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96" name="Oval 695">
                  <a:extLst>
                    <a:ext uri="{FF2B5EF4-FFF2-40B4-BE49-F238E27FC236}">
                      <a16:creationId xmlns:a16="http://schemas.microsoft.com/office/drawing/2014/main" id="{B9E39395-035C-4F81-A6C8-49DFD5F7B83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7" name="Oval 696">
                  <a:extLst>
                    <a:ext uri="{FF2B5EF4-FFF2-40B4-BE49-F238E27FC236}">
                      <a16:creationId xmlns:a16="http://schemas.microsoft.com/office/drawing/2014/main" id="{FFDB2ABF-C854-4DCE-B462-D3E7782B7D0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8" name="Oval 697">
                  <a:extLst>
                    <a:ext uri="{FF2B5EF4-FFF2-40B4-BE49-F238E27FC236}">
                      <a16:creationId xmlns:a16="http://schemas.microsoft.com/office/drawing/2014/main" id="{F6398A16-2B54-4B3B-820D-258F7C297483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9" name="Oval 698">
                  <a:extLst>
                    <a:ext uri="{FF2B5EF4-FFF2-40B4-BE49-F238E27FC236}">
                      <a16:creationId xmlns:a16="http://schemas.microsoft.com/office/drawing/2014/main" id="{497C5A6B-E41D-4A2C-B31F-E840941881A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74" name="Oval 673">
                <a:extLst>
                  <a:ext uri="{FF2B5EF4-FFF2-40B4-BE49-F238E27FC236}">
                    <a16:creationId xmlns:a16="http://schemas.microsoft.com/office/drawing/2014/main" id="{F8E95F99-F81A-4CCD-8F17-50579C9AB84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75" name="Straight Connector 674">
                <a:extLst>
                  <a:ext uri="{FF2B5EF4-FFF2-40B4-BE49-F238E27FC236}">
                    <a16:creationId xmlns:a16="http://schemas.microsoft.com/office/drawing/2014/main" id="{C01AFF28-8216-4B88-B52F-FE49B0E8C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6" name="Straight Connector 675">
                <a:extLst>
                  <a:ext uri="{FF2B5EF4-FFF2-40B4-BE49-F238E27FC236}">
                    <a16:creationId xmlns:a16="http://schemas.microsoft.com/office/drawing/2014/main" id="{C51B9A7A-29B6-4D86-89D8-8D3B7AF8F4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77" name="Oval 676">
                <a:extLst>
                  <a:ext uri="{FF2B5EF4-FFF2-40B4-BE49-F238E27FC236}">
                    <a16:creationId xmlns:a16="http://schemas.microsoft.com/office/drawing/2014/main" id="{D8B738FA-4154-4EA9-8EB9-549E56C674A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8" name="Oval 677">
                <a:extLst>
                  <a:ext uri="{FF2B5EF4-FFF2-40B4-BE49-F238E27FC236}">
                    <a16:creationId xmlns:a16="http://schemas.microsoft.com/office/drawing/2014/main" id="{4DC242E2-B38E-435E-8352-01042872188F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79" name="Straight Connector 678">
                <a:extLst>
                  <a:ext uri="{FF2B5EF4-FFF2-40B4-BE49-F238E27FC236}">
                    <a16:creationId xmlns:a16="http://schemas.microsoft.com/office/drawing/2014/main" id="{329B81D3-FB44-4202-80A7-6868A9A761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80" name="Straight Connector 679">
                <a:extLst>
                  <a:ext uri="{FF2B5EF4-FFF2-40B4-BE49-F238E27FC236}">
                    <a16:creationId xmlns:a16="http://schemas.microsoft.com/office/drawing/2014/main" id="{3DC6C95A-C170-487D-8A28-632554D9BD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960B3980-D869-4671-BD8C-CC94B3342FB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92" name="Oval 691">
                  <a:extLst>
                    <a:ext uri="{FF2B5EF4-FFF2-40B4-BE49-F238E27FC236}">
                      <a16:creationId xmlns:a16="http://schemas.microsoft.com/office/drawing/2014/main" id="{9EA67D3A-5CBB-4DED-81C4-7F4F0701A88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3" name="Oval 692">
                  <a:extLst>
                    <a:ext uri="{FF2B5EF4-FFF2-40B4-BE49-F238E27FC236}">
                      <a16:creationId xmlns:a16="http://schemas.microsoft.com/office/drawing/2014/main" id="{832A02D9-9E55-47DA-AB76-A0FD3FAA5E1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4" name="Oval 693">
                  <a:extLst>
                    <a:ext uri="{FF2B5EF4-FFF2-40B4-BE49-F238E27FC236}">
                      <a16:creationId xmlns:a16="http://schemas.microsoft.com/office/drawing/2014/main" id="{08E7C14C-5E03-47E2-A48F-D0712F4BBAA1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5" name="Oval 694">
                  <a:extLst>
                    <a:ext uri="{FF2B5EF4-FFF2-40B4-BE49-F238E27FC236}">
                      <a16:creationId xmlns:a16="http://schemas.microsoft.com/office/drawing/2014/main" id="{69EF9915-8738-4DAA-9F16-E129F8D69B9C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B3C56974-C24C-4D3E-8F22-DD88B0A52B5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3" name="Oval 682">
                <a:extLst>
                  <a:ext uri="{FF2B5EF4-FFF2-40B4-BE49-F238E27FC236}">
                    <a16:creationId xmlns:a16="http://schemas.microsoft.com/office/drawing/2014/main" id="{C0B427FD-0A3F-4A84-BF0F-D464A7EBCE7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4" name="Oval 683">
                <a:extLst>
                  <a:ext uri="{FF2B5EF4-FFF2-40B4-BE49-F238E27FC236}">
                    <a16:creationId xmlns:a16="http://schemas.microsoft.com/office/drawing/2014/main" id="{C33E21FA-6C92-45FB-A7E1-09FC55D7CCA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5" name="Oval 684">
                <a:extLst>
                  <a:ext uri="{FF2B5EF4-FFF2-40B4-BE49-F238E27FC236}">
                    <a16:creationId xmlns:a16="http://schemas.microsoft.com/office/drawing/2014/main" id="{34CD798B-74A7-4AAC-89EB-2830C6CDDA93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6" name="Oval 685">
                <a:extLst>
                  <a:ext uri="{FF2B5EF4-FFF2-40B4-BE49-F238E27FC236}">
                    <a16:creationId xmlns:a16="http://schemas.microsoft.com/office/drawing/2014/main" id="{9D7B21A1-1B99-40BE-A264-064F871E7C8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7" name="Oval 686">
                <a:extLst>
                  <a:ext uri="{FF2B5EF4-FFF2-40B4-BE49-F238E27FC236}">
                    <a16:creationId xmlns:a16="http://schemas.microsoft.com/office/drawing/2014/main" id="{30548C90-A6D1-4AD5-BCFE-99A23742F724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8" name="Oval 687">
                <a:extLst>
                  <a:ext uri="{FF2B5EF4-FFF2-40B4-BE49-F238E27FC236}">
                    <a16:creationId xmlns:a16="http://schemas.microsoft.com/office/drawing/2014/main" id="{3EEEA5A5-E470-424D-8A74-9B29BE67265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9" name="Oval 688">
                <a:extLst>
                  <a:ext uri="{FF2B5EF4-FFF2-40B4-BE49-F238E27FC236}">
                    <a16:creationId xmlns:a16="http://schemas.microsoft.com/office/drawing/2014/main" id="{A36E4257-4236-4C3B-BD24-0D11A6E04D90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0" name="Oval 689">
                <a:extLst>
                  <a:ext uri="{FF2B5EF4-FFF2-40B4-BE49-F238E27FC236}">
                    <a16:creationId xmlns:a16="http://schemas.microsoft.com/office/drawing/2014/main" id="{4A49024E-19E7-48B5-A316-CAA8D53B999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1" name="Oval 690">
                <a:extLst>
                  <a:ext uri="{FF2B5EF4-FFF2-40B4-BE49-F238E27FC236}">
                    <a16:creationId xmlns:a16="http://schemas.microsoft.com/office/drawing/2014/main" id="{28A84423-B972-4E53-8C53-5F3AB77CDF6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9" name="Group 528">
              <a:extLst>
                <a:ext uri="{FF2B5EF4-FFF2-40B4-BE49-F238E27FC236}">
                  <a16:creationId xmlns:a16="http://schemas.microsoft.com/office/drawing/2014/main" id="{A0BC5850-0B4E-49A2-8A6E-0BD9884B2F60}"/>
                </a:ext>
              </a:extLst>
            </p:cNvPr>
            <p:cNvGrpSpPr/>
            <p:nvPr/>
          </p:nvGrpSpPr>
          <p:grpSpPr>
            <a:xfrm>
              <a:off x="9148657" y="6308525"/>
              <a:ext cx="2609224" cy="643538"/>
              <a:chOff x="330424" y="3751799"/>
              <a:chExt cx="15193725" cy="3747377"/>
            </a:xfrm>
          </p:grpSpPr>
          <p:sp>
            <p:nvSpPr>
              <p:cNvPr id="616" name="Arrow: Pentagon 615">
                <a:extLst>
                  <a:ext uri="{FF2B5EF4-FFF2-40B4-BE49-F238E27FC236}">
                    <a16:creationId xmlns:a16="http://schemas.microsoft.com/office/drawing/2014/main" id="{0E4BF522-DD6B-42C6-9428-5677281560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17" name="Straight Connector 616">
                <a:extLst>
                  <a:ext uri="{FF2B5EF4-FFF2-40B4-BE49-F238E27FC236}">
                    <a16:creationId xmlns:a16="http://schemas.microsoft.com/office/drawing/2014/main" id="{ECA86436-61D3-46CC-8E1F-CC76D02B72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5B452C2B-E595-4889-B24E-EB4413B077D5}"/>
                  </a:ext>
                </a:extLst>
              </p:cNvPr>
              <p:cNvCxnSpPr>
                <a:cxnSpLocks/>
                <a:endCxn id="65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9" name="Straight Connector 618">
                <a:extLst>
                  <a:ext uri="{FF2B5EF4-FFF2-40B4-BE49-F238E27FC236}">
                    <a16:creationId xmlns:a16="http://schemas.microsoft.com/office/drawing/2014/main" id="{994E82CD-8D8E-40D4-BC37-750DEBED39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0" name="Straight Connector 619">
                <a:extLst>
                  <a:ext uri="{FF2B5EF4-FFF2-40B4-BE49-F238E27FC236}">
                    <a16:creationId xmlns:a16="http://schemas.microsoft.com/office/drawing/2014/main" id="{E43ABBA3-C66F-439F-BC54-CEE29D51D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1" name="Straight Connector 620">
                <a:extLst>
                  <a:ext uri="{FF2B5EF4-FFF2-40B4-BE49-F238E27FC236}">
                    <a16:creationId xmlns:a16="http://schemas.microsoft.com/office/drawing/2014/main" id="{1A3FD6CE-6044-48B2-975B-316B8EA724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22" name="Oval 621">
                <a:extLst>
                  <a:ext uri="{FF2B5EF4-FFF2-40B4-BE49-F238E27FC236}">
                    <a16:creationId xmlns:a16="http://schemas.microsoft.com/office/drawing/2014/main" id="{63AC02A8-CCB0-420F-812C-92029799533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23" name="Oval 622">
                <a:extLst>
                  <a:ext uri="{FF2B5EF4-FFF2-40B4-BE49-F238E27FC236}">
                    <a16:creationId xmlns:a16="http://schemas.microsoft.com/office/drawing/2014/main" id="{0B12D8C6-3DB5-4AF1-B24D-004C9072EB7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24" name="Straight Connector 623">
                <a:extLst>
                  <a:ext uri="{FF2B5EF4-FFF2-40B4-BE49-F238E27FC236}">
                    <a16:creationId xmlns:a16="http://schemas.microsoft.com/office/drawing/2014/main" id="{E0ED83BC-2CE0-452C-B4E7-AE069A5C06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5" name="Straight Connector 624">
                <a:extLst>
                  <a:ext uri="{FF2B5EF4-FFF2-40B4-BE49-F238E27FC236}">
                    <a16:creationId xmlns:a16="http://schemas.microsoft.com/office/drawing/2014/main" id="{D506C2A8-E017-4172-823B-E59ED2714E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6" name="Straight Connector 625">
                <a:extLst>
                  <a:ext uri="{FF2B5EF4-FFF2-40B4-BE49-F238E27FC236}">
                    <a16:creationId xmlns:a16="http://schemas.microsoft.com/office/drawing/2014/main" id="{2089A159-A66B-4AE9-BBBE-765ED173AE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7" name="Straight Connector 626">
                <a:extLst>
                  <a:ext uri="{FF2B5EF4-FFF2-40B4-BE49-F238E27FC236}">
                    <a16:creationId xmlns:a16="http://schemas.microsoft.com/office/drawing/2014/main" id="{5D1CE8A1-156A-4115-872C-A73DB864C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8" name="Straight Connector 627">
                <a:extLst>
                  <a:ext uri="{FF2B5EF4-FFF2-40B4-BE49-F238E27FC236}">
                    <a16:creationId xmlns:a16="http://schemas.microsoft.com/office/drawing/2014/main" id="{5989F0C6-339E-4301-A6D7-FE1B457353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9" name="Straight Connector 628">
                <a:extLst>
                  <a:ext uri="{FF2B5EF4-FFF2-40B4-BE49-F238E27FC236}">
                    <a16:creationId xmlns:a16="http://schemas.microsoft.com/office/drawing/2014/main" id="{361C9601-EEE5-4B32-9F51-E071367605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85311114-30B0-456D-BAAB-5673A56C78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1" name="Group 630">
                <a:extLst>
                  <a:ext uri="{FF2B5EF4-FFF2-40B4-BE49-F238E27FC236}">
                    <a16:creationId xmlns:a16="http://schemas.microsoft.com/office/drawing/2014/main" id="{014E4E08-B2F4-4818-87E7-95E80703A5B5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54" name="Oval 653">
                  <a:extLst>
                    <a:ext uri="{FF2B5EF4-FFF2-40B4-BE49-F238E27FC236}">
                      <a16:creationId xmlns:a16="http://schemas.microsoft.com/office/drawing/2014/main" id="{1A0D5E7F-3BDE-45FF-84C9-41ABB809515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5" name="Oval 654">
                  <a:extLst>
                    <a:ext uri="{FF2B5EF4-FFF2-40B4-BE49-F238E27FC236}">
                      <a16:creationId xmlns:a16="http://schemas.microsoft.com/office/drawing/2014/main" id="{3B790BD4-BAE2-443C-B0D4-2D64653038C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6" name="Oval 655">
                  <a:extLst>
                    <a:ext uri="{FF2B5EF4-FFF2-40B4-BE49-F238E27FC236}">
                      <a16:creationId xmlns:a16="http://schemas.microsoft.com/office/drawing/2014/main" id="{3DEB3B70-4D41-4B60-8953-FCD411B81D85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7" name="Oval 656">
                  <a:extLst>
                    <a:ext uri="{FF2B5EF4-FFF2-40B4-BE49-F238E27FC236}">
                      <a16:creationId xmlns:a16="http://schemas.microsoft.com/office/drawing/2014/main" id="{D990B09F-D9E2-4033-BA19-FA0C4831761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2" name="Oval 631">
                <a:extLst>
                  <a:ext uri="{FF2B5EF4-FFF2-40B4-BE49-F238E27FC236}">
                    <a16:creationId xmlns:a16="http://schemas.microsoft.com/office/drawing/2014/main" id="{D77943FA-1D84-460A-8A77-35857BE6DE6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9D8BE631-D67D-41BA-A520-CA8013FC70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97728FFA-6B8C-4232-9FAC-5E0D204208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35" name="Oval 634">
                <a:extLst>
                  <a:ext uri="{FF2B5EF4-FFF2-40B4-BE49-F238E27FC236}">
                    <a16:creationId xmlns:a16="http://schemas.microsoft.com/office/drawing/2014/main" id="{0C35224C-8312-4510-A918-56029E6D2676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36" name="Oval 635">
                <a:extLst>
                  <a:ext uri="{FF2B5EF4-FFF2-40B4-BE49-F238E27FC236}">
                    <a16:creationId xmlns:a16="http://schemas.microsoft.com/office/drawing/2014/main" id="{855D1768-3881-4886-A471-A32E9EA0F71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37" name="Straight Connector 636">
                <a:extLst>
                  <a:ext uri="{FF2B5EF4-FFF2-40B4-BE49-F238E27FC236}">
                    <a16:creationId xmlns:a16="http://schemas.microsoft.com/office/drawing/2014/main" id="{CC3A3D21-D8D7-4A4F-8BF7-5953EBAC36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8" name="Straight Connector 637">
                <a:extLst>
                  <a:ext uri="{FF2B5EF4-FFF2-40B4-BE49-F238E27FC236}">
                    <a16:creationId xmlns:a16="http://schemas.microsoft.com/office/drawing/2014/main" id="{757412B1-10F8-4726-A1A8-5DD2664BE9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9" name="Group 638">
                <a:extLst>
                  <a:ext uri="{FF2B5EF4-FFF2-40B4-BE49-F238E27FC236}">
                    <a16:creationId xmlns:a16="http://schemas.microsoft.com/office/drawing/2014/main" id="{D7A949A6-CCBA-4190-A430-FBA52B8906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50" name="Oval 649">
                  <a:extLst>
                    <a:ext uri="{FF2B5EF4-FFF2-40B4-BE49-F238E27FC236}">
                      <a16:creationId xmlns:a16="http://schemas.microsoft.com/office/drawing/2014/main" id="{8863B595-3BBE-4CCB-B3ED-804AF3B20C7B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1" name="Oval 650">
                  <a:extLst>
                    <a:ext uri="{FF2B5EF4-FFF2-40B4-BE49-F238E27FC236}">
                      <a16:creationId xmlns:a16="http://schemas.microsoft.com/office/drawing/2014/main" id="{4A604FCD-25AC-44DB-82BF-A0CDCE6B360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2" name="Oval 651">
                  <a:extLst>
                    <a:ext uri="{FF2B5EF4-FFF2-40B4-BE49-F238E27FC236}">
                      <a16:creationId xmlns:a16="http://schemas.microsoft.com/office/drawing/2014/main" id="{6B7C1321-88AD-4945-8CE9-0306E09F10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3" name="Oval 652">
                  <a:extLst>
                    <a:ext uri="{FF2B5EF4-FFF2-40B4-BE49-F238E27FC236}">
                      <a16:creationId xmlns:a16="http://schemas.microsoft.com/office/drawing/2014/main" id="{AA2A8A1A-C276-49D2-8D02-9E451CA0D5B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40" name="Oval 639">
                <a:extLst>
                  <a:ext uri="{FF2B5EF4-FFF2-40B4-BE49-F238E27FC236}">
                    <a16:creationId xmlns:a16="http://schemas.microsoft.com/office/drawing/2014/main" id="{64343499-DBB5-4ABB-A645-532FAE7B9048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1" name="Oval 640">
                <a:extLst>
                  <a:ext uri="{FF2B5EF4-FFF2-40B4-BE49-F238E27FC236}">
                    <a16:creationId xmlns:a16="http://schemas.microsoft.com/office/drawing/2014/main" id="{81199B31-EEE8-41D4-B903-B3A0E3F10B2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2" name="Oval 641">
                <a:extLst>
                  <a:ext uri="{FF2B5EF4-FFF2-40B4-BE49-F238E27FC236}">
                    <a16:creationId xmlns:a16="http://schemas.microsoft.com/office/drawing/2014/main" id="{E6A151D1-ECAD-46AE-A760-EE230FC2820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3" name="Oval 642">
                <a:extLst>
                  <a:ext uri="{FF2B5EF4-FFF2-40B4-BE49-F238E27FC236}">
                    <a16:creationId xmlns:a16="http://schemas.microsoft.com/office/drawing/2014/main" id="{6591780D-04D9-4418-A587-66043078275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4" name="Oval 643">
                <a:extLst>
                  <a:ext uri="{FF2B5EF4-FFF2-40B4-BE49-F238E27FC236}">
                    <a16:creationId xmlns:a16="http://schemas.microsoft.com/office/drawing/2014/main" id="{DBF5EAFE-0FB1-4B2B-AB3A-68B140D42F0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5" name="Oval 644">
                <a:extLst>
                  <a:ext uri="{FF2B5EF4-FFF2-40B4-BE49-F238E27FC236}">
                    <a16:creationId xmlns:a16="http://schemas.microsoft.com/office/drawing/2014/main" id="{C53C286C-1E56-4CEA-A941-2CAFDEC1EF2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6" name="Oval 645">
                <a:extLst>
                  <a:ext uri="{FF2B5EF4-FFF2-40B4-BE49-F238E27FC236}">
                    <a16:creationId xmlns:a16="http://schemas.microsoft.com/office/drawing/2014/main" id="{32C5D1A9-262C-46AC-84F7-AE486524C8A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7" name="Oval 646">
                <a:extLst>
                  <a:ext uri="{FF2B5EF4-FFF2-40B4-BE49-F238E27FC236}">
                    <a16:creationId xmlns:a16="http://schemas.microsoft.com/office/drawing/2014/main" id="{5C9AA2FB-880D-41D0-A32E-20E660C8A4A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8" name="Oval 647">
                <a:extLst>
                  <a:ext uri="{FF2B5EF4-FFF2-40B4-BE49-F238E27FC236}">
                    <a16:creationId xmlns:a16="http://schemas.microsoft.com/office/drawing/2014/main" id="{2D0AFA22-CEB6-4884-9931-2FFF7478CCEB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9" name="Oval 648">
                <a:extLst>
                  <a:ext uri="{FF2B5EF4-FFF2-40B4-BE49-F238E27FC236}">
                    <a16:creationId xmlns:a16="http://schemas.microsoft.com/office/drawing/2014/main" id="{D5F7AA49-5CAF-47BC-AFB7-6C255EABF72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0" name="Group 529">
              <a:extLst>
                <a:ext uri="{FF2B5EF4-FFF2-40B4-BE49-F238E27FC236}">
                  <a16:creationId xmlns:a16="http://schemas.microsoft.com/office/drawing/2014/main" id="{D4CE2A97-30E9-48A1-B12C-ECE6383FB89E}"/>
                </a:ext>
              </a:extLst>
            </p:cNvPr>
            <p:cNvGrpSpPr/>
            <p:nvPr/>
          </p:nvGrpSpPr>
          <p:grpSpPr>
            <a:xfrm>
              <a:off x="8783682" y="5186957"/>
              <a:ext cx="2609224" cy="643538"/>
              <a:chOff x="330424" y="3751799"/>
              <a:chExt cx="15193725" cy="3747377"/>
            </a:xfrm>
          </p:grpSpPr>
          <p:sp>
            <p:nvSpPr>
              <p:cNvPr id="574" name="Arrow: Pentagon 573">
                <a:extLst>
                  <a:ext uri="{FF2B5EF4-FFF2-40B4-BE49-F238E27FC236}">
                    <a16:creationId xmlns:a16="http://schemas.microsoft.com/office/drawing/2014/main" id="{73AF45ED-3D83-4BCE-952B-A9ADE27E677C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75" name="Straight Connector 574">
                <a:extLst>
                  <a:ext uri="{FF2B5EF4-FFF2-40B4-BE49-F238E27FC236}">
                    <a16:creationId xmlns:a16="http://schemas.microsoft.com/office/drawing/2014/main" id="{DFE0E2D2-52B1-446F-9490-368B9BF414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6" name="Straight Connector 575">
                <a:extLst>
                  <a:ext uri="{FF2B5EF4-FFF2-40B4-BE49-F238E27FC236}">
                    <a16:creationId xmlns:a16="http://schemas.microsoft.com/office/drawing/2014/main" id="{B90A9EFE-1161-4F21-B004-A8A8CCE16E0C}"/>
                  </a:ext>
                </a:extLst>
              </p:cNvPr>
              <p:cNvCxnSpPr>
                <a:cxnSpLocks/>
                <a:endCxn id="61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7" name="Straight Connector 576">
                <a:extLst>
                  <a:ext uri="{FF2B5EF4-FFF2-40B4-BE49-F238E27FC236}">
                    <a16:creationId xmlns:a16="http://schemas.microsoft.com/office/drawing/2014/main" id="{40048141-1D9F-45D0-87F2-6EC22ECE4D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8" name="Straight Connector 577">
                <a:extLst>
                  <a:ext uri="{FF2B5EF4-FFF2-40B4-BE49-F238E27FC236}">
                    <a16:creationId xmlns:a16="http://schemas.microsoft.com/office/drawing/2014/main" id="{CF41C0AD-CA83-4AE8-9B03-A7DAD43983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9" name="Straight Connector 578">
                <a:extLst>
                  <a:ext uri="{FF2B5EF4-FFF2-40B4-BE49-F238E27FC236}">
                    <a16:creationId xmlns:a16="http://schemas.microsoft.com/office/drawing/2014/main" id="{5BA6F3C4-1D30-4EBB-B786-C241D0EA37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80" name="Oval 579">
                <a:extLst>
                  <a:ext uri="{FF2B5EF4-FFF2-40B4-BE49-F238E27FC236}">
                    <a16:creationId xmlns:a16="http://schemas.microsoft.com/office/drawing/2014/main" id="{B5DAE053-9517-486A-957C-3782E7A98FD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81" name="Oval 580">
                <a:extLst>
                  <a:ext uri="{FF2B5EF4-FFF2-40B4-BE49-F238E27FC236}">
                    <a16:creationId xmlns:a16="http://schemas.microsoft.com/office/drawing/2014/main" id="{49CCA336-B93F-4014-91A5-108F4C70578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82" name="Straight Connector 581">
                <a:extLst>
                  <a:ext uri="{FF2B5EF4-FFF2-40B4-BE49-F238E27FC236}">
                    <a16:creationId xmlns:a16="http://schemas.microsoft.com/office/drawing/2014/main" id="{F224D670-3064-4294-842C-61CD0D0C37C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3" name="Straight Connector 582">
                <a:extLst>
                  <a:ext uri="{FF2B5EF4-FFF2-40B4-BE49-F238E27FC236}">
                    <a16:creationId xmlns:a16="http://schemas.microsoft.com/office/drawing/2014/main" id="{6EAB0200-6286-4A19-8B90-B08F5A4C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4" name="Straight Connector 583">
                <a:extLst>
                  <a:ext uri="{FF2B5EF4-FFF2-40B4-BE49-F238E27FC236}">
                    <a16:creationId xmlns:a16="http://schemas.microsoft.com/office/drawing/2014/main" id="{3E06DC60-3901-4833-BF1C-EBDB894328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5" name="Straight Connector 584">
                <a:extLst>
                  <a:ext uri="{FF2B5EF4-FFF2-40B4-BE49-F238E27FC236}">
                    <a16:creationId xmlns:a16="http://schemas.microsoft.com/office/drawing/2014/main" id="{1F2D29F7-2595-4DD7-91A3-3614FDC72A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6" name="Straight Connector 585">
                <a:extLst>
                  <a:ext uri="{FF2B5EF4-FFF2-40B4-BE49-F238E27FC236}">
                    <a16:creationId xmlns:a16="http://schemas.microsoft.com/office/drawing/2014/main" id="{5646C9CF-F99A-49C4-884B-74E0C3AA5B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7" name="Straight Connector 586">
                <a:extLst>
                  <a:ext uri="{FF2B5EF4-FFF2-40B4-BE49-F238E27FC236}">
                    <a16:creationId xmlns:a16="http://schemas.microsoft.com/office/drawing/2014/main" id="{E2523E82-C92C-46FF-A7FD-4BA32474F7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8" name="Straight Connector 587">
                <a:extLst>
                  <a:ext uri="{FF2B5EF4-FFF2-40B4-BE49-F238E27FC236}">
                    <a16:creationId xmlns:a16="http://schemas.microsoft.com/office/drawing/2014/main" id="{F58E22DF-8260-4927-B27C-598D961A8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89" name="Group 588">
                <a:extLst>
                  <a:ext uri="{FF2B5EF4-FFF2-40B4-BE49-F238E27FC236}">
                    <a16:creationId xmlns:a16="http://schemas.microsoft.com/office/drawing/2014/main" id="{A5E87FCD-3AAF-4F50-B243-94B3C9B3E7FA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12" name="Oval 611">
                  <a:extLst>
                    <a:ext uri="{FF2B5EF4-FFF2-40B4-BE49-F238E27FC236}">
                      <a16:creationId xmlns:a16="http://schemas.microsoft.com/office/drawing/2014/main" id="{FAD1DA9B-3AB8-46B6-A921-FF0CA2CEC27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3" name="Oval 612">
                  <a:extLst>
                    <a:ext uri="{FF2B5EF4-FFF2-40B4-BE49-F238E27FC236}">
                      <a16:creationId xmlns:a16="http://schemas.microsoft.com/office/drawing/2014/main" id="{570DD62E-0F77-452F-95B3-80702C11D70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4" name="Oval 613">
                  <a:extLst>
                    <a:ext uri="{FF2B5EF4-FFF2-40B4-BE49-F238E27FC236}">
                      <a16:creationId xmlns:a16="http://schemas.microsoft.com/office/drawing/2014/main" id="{3D5D9AC6-CA32-42F7-9988-B67557B2109A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5" name="Oval 614">
                  <a:extLst>
                    <a:ext uri="{FF2B5EF4-FFF2-40B4-BE49-F238E27FC236}">
                      <a16:creationId xmlns:a16="http://schemas.microsoft.com/office/drawing/2014/main" id="{A9EAC213-E78F-47DE-AAF7-62F26DF303A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0" name="Oval 589">
                <a:extLst>
                  <a:ext uri="{FF2B5EF4-FFF2-40B4-BE49-F238E27FC236}">
                    <a16:creationId xmlns:a16="http://schemas.microsoft.com/office/drawing/2014/main" id="{01439655-D2EF-4699-BE21-EED37C5CAE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91" name="Straight Connector 590">
                <a:extLst>
                  <a:ext uri="{FF2B5EF4-FFF2-40B4-BE49-F238E27FC236}">
                    <a16:creationId xmlns:a16="http://schemas.microsoft.com/office/drawing/2014/main" id="{7A18D2F3-463D-4384-9D60-E123C34390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2" name="Straight Connector 591">
                <a:extLst>
                  <a:ext uri="{FF2B5EF4-FFF2-40B4-BE49-F238E27FC236}">
                    <a16:creationId xmlns:a16="http://schemas.microsoft.com/office/drawing/2014/main" id="{323758D9-501A-4B9F-A11C-0E2271516D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93" name="Oval 592">
                <a:extLst>
                  <a:ext uri="{FF2B5EF4-FFF2-40B4-BE49-F238E27FC236}">
                    <a16:creationId xmlns:a16="http://schemas.microsoft.com/office/drawing/2014/main" id="{98F25BDD-DED9-4E11-BD80-B806CA5DB6BE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94" name="Oval 593">
                <a:extLst>
                  <a:ext uri="{FF2B5EF4-FFF2-40B4-BE49-F238E27FC236}">
                    <a16:creationId xmlns:a16="http://schemas.microsoft.com/office/drawing/2014/main" id="{E838A88D-F62E-467E-BF62-44E47A18783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95" name="Straight Connector 594">
                <a:extLst>
                  <a:ext uri="{FF2B5EF4-FFF2-40B4-BE49-F238E27FC236}">
                    <a16:creationId xmlns:a16="http://schemas.microsoft.com/office/drawing/2014/main" id="{A1F74D45-710E-4E79-B73B-614D7C9857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6" name="Straight Connector 595">
                <a:extLst>
                  <a:ext uri="{FF2B5EF4-FFF2-40B4-BE49-F238E27FC236}">
                    <a16:creationId xmlns:a16="http://schemas.microsoft.com/office/drawing/2014/main" id="{639B6CCD-C1D0-4E88-81EF-3ABA23831F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97" name="Group 596">
                <a:extLst>
                  <a:ext uri="{FF2B5EF4-FFF2-40B4-BE49-F238E27FC236}">
                    <a16:creationId xmlns:a16="http://schemas.microsoft.com/office/drawing/2014/main" id="{454EA6DB-B17E-4A93-94F4-77E000FA00E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08" name="Oval 607">
                  <a:extLst>
                    <a:ext uri="{FF2B5EF4-FFF2-40B4-BE49-F238E27FC236}">
                      <a16:creationId xmlns:a16="http://schemas.microsoft.com/office/drawing/2014/main" id="{5E4D46B7-1D6C-473C-B0B9-E3A9BB2C7B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09" name="Oval 608">
                  <a:extLst>
                    <a:ext uri="{FF2B5EF4-FFF2-40B4-BE49-F238E27FC236}">
                      <a16:creationId xmlns:a16="http://schemas.microsoft.com/office/drawing/2014/main" id="{29CB1F77-CE69-41D1-B582-5917E8D156D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0" name="Oval 609">
                  <a:extLst>
                    <a:ext uri="{FF2B5EF4-FFF2-40B4-BE49-F238E27FC236}">
                      <a16:creationId xmlns:a16="http://schemas.microsoft.com/office/drawing/2014/main" id="{5CFF8310-06F1-4BE7-B93A-D7199AF5EA8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1" name="Oval 610">
                  <a:extLst>
                    <a:ext uri="{FF2B5EF4-FFF2-40B4-BE49-F238E27FC236}">
                      <a16:creationId xmlns:a16="http://schemas.microsoft.com/office/drawing/2014/main" id="{3B6C1286-4190-42D4-8BA5-67423F401A57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8" name="Oval 597">
                <a:extLst>
                  <a:ext uri="{FF2B5EF4-FFF2-40B4-BE49-F238E27FC236}">
                    <a16:creationId xmlns:a16="http://schemas.microsoft.com/office/drawing/2014/main" id="{52C70A94-68A0-4C2E-B1F4-83979AE8B66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99" name="Oval 598">
                <a:extLst>
                  <a:ext uri="{FF2B5EF4-FFF2-40B4-BE49-F238E27FC236}">
                    <a16:creationId xmlns:a16="http://schemas.microsoft.com/office/drawing/2014/main" id="{5CC35C9B-7021-4520-A621-5F89B0C5C7BA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0" name="Oval 599">
                <a:extLst>
                  <a:ext uri="{FF2B5EF4-FFF2-40B4-BE49-F238E27FC236}">
                    <a16:creationId xmlns:a16="http://schemas.microsoft.com/office/drawing/2014/main" id="{72BCE379-F25D-4ABE-A7A5-92B6D90EF88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1" name="Oval 600">
                <a:extLst>
                  <a:ext uri="{FF2B5EF4-FFF2-40B4-BE49-F238E27FC236}">
                    <a16:creationId xmlns:a16="http://schemas.microsoft.com/office/drawing/2014/main" id="{1E700C57-4EDC-4BA4-85D6-2F854D40220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2" name="Oval 601">
                <a:extLst>
                  <a:ext uri="{FF2B5EF4-FFF2-40B4-BE49-F238E27FC236}">
                    <a16:creationId xmlns:a16="http://schemas.microsoft.com/office/drawing/2014/main" id="{7B7939DF-CC19-449D-BA6B-D08AC97B2AC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3" name="Oval 602">
                <a:extLst>
                  <a:ext uri="{FF2B5EF4-FFF2-40B4-BE49-F238E27FC236}">
                    <a16:creationId xmlns:a16="http://schemas.microsoft.com/office/drawing/2014/main" id="{625B94F0-D778-4BE0-9831-F073724D87E2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4" name="Oval 603">
                <a:extLst>
                  <a:ext uri="{FF2B5EF4-FFF2-40B4-BE49-F238E27FC236}">
                    <a16:creationId xmlns:a16="http://schemas.microsoft.com/office/drawing/2014/main" id="{CBA179C5-76D4-4D37-A6BB-59D45009FF1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5" name="Oval 604">
                <a:extLst>
                  <a:ext uri="{FF2B5EF4-FFF2-40B4-BE49-F238E27FC236}">
                    <a16:creationId xmlns:a16="http://schemas.microsoft.com/office/drawing/2014/main" id="{F04E218F-F9C0-4736-8669-A03B7F93872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6" name="Oval 605">
                <a:extLst>
                  <a:ext uri="{FF2B5EF4-FFF2-40B4-BE49-F238E27FC236}">
                    <a16:creationId xmlns:a16="http://schemas.microsoft.com/office/drawing/2014/main" id="{42D6EBA9-8EC5-40FF-BD8A-0FA3EEDD937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7" name="Oval 606">
                <a:extLst>
                  <a:ext uri="{FF2B5EF4-FFF2-40B4-BE49-F238E27FC236}">
                    <a16:creationId xmlns:a16="http://schemas.microsoft.com/office/drawing/2014/main" id="{32C2A918-DFA0-4FBE-BD85-D01F2694535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1" name="Group 530">
              <a:extLst>
                <a:ext uri="{FF2B5EF4-FFF2-40B4-BE49-F238E27FC236}">
                  <a16:creationId xmlns:a16="http://schemas.microsoft.com/office/drawing/2014/main" id="{67F429F5-9265-4695-B6F8-75A3BA2831EE}"/>
                </a:ext>
              </a:extLst>
            </p:cNvPr>
            <p:cNvGrpSpPr/>
            <p:nvPr/>
          </p:nvGrpSpPr>
          <p:grpSpPr>
            <a:xfrm>
              <a:off x="11937160" y="4662939"/>
              <a:ext cx="2609224" cy="643538"/>
              <a:chOff x="330424" y="3751799"/>
              <a:chExt cx="15193725" cy="3747377"/>
            </a:xfrm>
          </p:grpSpPr>
          <p:sp>
            <p:nvSpPr>
              <p:cNvPr id="532" name="Arrow: Pentagon 531">
                <a:extLst>
                  <a:ext uri="{FF2B5EF4-FFF2-40B4-BE49-F238E27FC236}">
                    <a16:creationId xmlns:a16="http://schemas.microsoft.com/office/drawing/2014/main" id="{505999C5-0B00-4EC8-BA2F-1D047FB4EDE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33" name="Straight Connector 532">
                <a:extLst>
                  <a:ext uri="{FF2B5EF4-FFF2-40B4-BE49-F238E27FC236}">
                    <a16:creationId xmlns:a16="http://schemas.microsoft.com/office/drawing/2014/main" id="{541B5C8F-70B3-4ECB-A509-99526C5983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4" name="Straight Connector 533">
                <a:extLst>
                  <a:ext uri="{FF2B5EF4-FFF2-40B4-BE49-F238E27FC236}">
                    <a16:creationId xmlns:a16="http://schemas.microsoft.com/office/drawing/2014/main" id="{DDDA5102-2E43-44CC-866C-7A524EA9AD65}"/>
                  </a:ext>
                </a:extLst>
              </p:cNvPr>
              <p:cNvCxnSpPr>
                <a:cxnSpLocks/>
                <a:endCxn id="57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5" name="Straight Connector 534">
                <a:extLst>
                  <a:ext uri="{FF2B5EF4-FFF2-40B4-BE49-F238E27FC236}">
                    <a16:creationId xmlns:a16="http://schemas.microsoft.com/office/drawing/2014/main" id="{3178F730-2D66-4F68-B665-34041B7F1A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6" name="Straight Connector 535">
                <a:extLst>
                  <a:ext uri="{FF2B5EF4-FFF2-40B4-BE49-F238E27FC236}">
                    <a16:creationId xmlns:a16="http://schemas.microsoft.com/office/drawing/2014/main" id="{2BE80CA0-3689-49C8-8F31-E21BA13A0C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7" name="Straight Connector 536">
                <a:extLst>
                  <a:ext uri="{FF2B5EF4-FFF2-40B4-BE49-F238E27FC236}">
                    <a16:creationId xmlns:a16="http://schemas.microsoft.com/office/drawing/2014/main" id="{1622C3B2-CC01-4D57-A9BD-E2A1B313BC5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8" name="Oval 537">
                <a:extLst>
                  <a:ext uri="{FF2B5EF4-FFF2-40B4-BE49-F238E27FC236}">
                    <a16:creationId xmlns:a16="http://schemas.microsoft.com/office/drawing/2014/main" id="{3FF2093F-8947-4593-899A-D17688D779E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39" name="Oval 538">
                <a:extLst>
                  <a:ext uri="{FF2B5EF4-FFF2-40B4-BE49-F238E27FC236}">
                    <a16:creationId xmlns:a16="http://schemas.microsoft.com/office/drawing/2014/main" id="{9087CB07-B041-4417-8C4D-23F4F08AD7D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968FB0C7-AC48-4BFB-8A97-F615D2E57D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1" name="Straight Connector 540">
                <a:extLst>
                  <a:ext uri="{FF2B5EF4-FFF2-40B4-BE49-F238E27FC236}">
                    <a16:creationId xmlns:a16="http://schemas.microsoft.com/office/drawing/2014/main" id="{5E3C1FDE-E40F-42AB-8CCE-9DC34097A7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2" name="Straight Connector 541">
                <a:extLst>
                  <a:ext uri="{FF2B5EF4-FFF2-40B4-BE49-F238E27FC236}">
                    <a16:creationId xmlns:a16="http://schemas.microsoft.com/office/drawing/2014/main" id="{AF328D83-641C-4E16-854A-32CEA7EE0A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3" name="Straight Connector 542">
                <a:extLst>
                  <a:ext uri="{FF2B5EF4-FFF2-40B4-BE49-F238E27FC236}">
                    <a16:creationId xmlns:a16="http://schemas.microsoft.com/office/drawing/2014/main" id="{F983CE3A-7FD2-4ED2-946A-92588173F2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4" name="Straight Connector 543">
                <a:extLst>
                  <a:ext uri="{FF2B5EF4-FFF2-40B4-BE49-F238E27FC236}">
                    <a16:creationId xmlns:a16="http://schemas.microsoft.com/office/drawing/2014/main" id="{F8402752-3178-4FC1-AA07-3E720C0E3E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5" name="Straight Connector 544">
                <a:extLst>
                  <a:ext uri="{FF2B5EF4-FFF2-40B4-BE49-F238E27FC236}">
                    <a16:creationId xmlns:a16="http://schemas.microsoft.com/office/drawing/2014/main" id="{2119F1F6-5D65-4F70-980A-12CC27B045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BC868CD7-AD3E-426D-BAF4-EFC92036960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47" name="Group 546">
                <a:extLst>
                  <a:ext uri="{FF2B5EF4-FFF2-40B4-BE49-F238E27FC236}">
                    <a16:creationId xmlns:a16="http://schemas.microsoft.com/office/drawing/2014/main" id="{CE92C4D0-BDCE-431D-96D0-0037CCF1FA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70" name="Oval 569">
                  <a:extLst>
                    <a:ext uri="{FF2B5EF4-FFF2-40B4-BE49-F238E27FC236}">
                      <a16:creationId xmlns:a16="http://schemas.microsoft.com/office/drawing/2014/main" id="{2694ACE2-DB37-49BF-9CA2-FE3104C09F1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1" name="Oval 570">
                  <a:extLst>
                    <a:ext uri="{FF2B5EF4-FFF2-40B4-BE49-F238E27FC236}">
                      <a16:creationId xmlns:a16="http://schemas.microsoft.com/office/drawing/2014/main" id="{4114612C-D30B-406C-BA48-1C6A1608D8D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2" name="Oval 571">
                  <a:extLst>
                    <a:ext uri="{FF2B5EF4-FFF2-40B4-BE49-F238E27FC236}">
                      <a16:creationId xmlns:a16="http://schemas.microsoft.com/office/drawing/2014/main" id="{ECF8DAD0-DBE1-4D9B-8244-34673961229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3" name="Oval 572">
                  <a:extLst>
                    <a:ext uri="{FF2B5EF4-FFF2-40B4-BE49-F238E27FC236}">
                      <a16:creationId xmlns:a16="http://schemas.microsoft.com/office/drawing/2014/main" id="{714CE336-CB16-4332-8FD4-BF129F171013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48" name="Oval 547">
                <a:extLst>
                  <a:ext uri="{FF2B5EF4-FFF2-40B4-BE49-F238E27FC236}">
                    <a16:creationId xmlns:a16="http://schemas.microsoft.com/office/drawing/2014/main" id="{2782B6F4-CC43-4A5B-9256-F7A077AB058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49" name="Straight Connector 548">
                <a:extLst>
                  <a:ext uri="{FF2B5EF4-FFF2-40B4-BE49-F238E27FC236}">
                    <a16:creationId xmlns:a16="http://schemas.microsoft.com/office/drawing/2014/main" id="{C6FE0F79-3476-49D8-8B5B-265B99B6C71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0" name="Straight Connector 549">
                <a:extLst>
                  <a:ext uri="{FF2B5EF4-FFF2-40B4-BE49-F238E27FC236}">
                    <a16:creationId xmlns:a16="http://schemas.microsoft.com/office/drawing/2014/main" id="{62970595-4549-41F3-82BD-A3A2D8734C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51" name="Oval 550">
                <a:extLst>
                  <a:ext uri="{FF2B5EF4-FFF2-40B4-BE49-F238E27FC236}">
                    <a16:creationId xmlns:a16="http://schemas.microsoft.com/office/drawing/2014/main" id="{6411FDB5-DF7E-4392-8463-950C955CC7B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52" name="Oval 551">
                <a:extLst>
                  <a:ext uri="{FF2B5EF4-FFF2-40B4-BE49-F238E27FC236}">
                    <a16:creationId xmlns:a16="http://schemas.microsoft.com/office/drawing/2014/main" id="{9A33171E-AD01-4DE7-B964-66211C1886F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3" name="Straight Connector 552">
                <a:extLst>
                  <a:ext uri="{FF2B5EF4-FFF2-40B4-BE49-F238E27FC236}">
                    <a16:creationId xmlns:a16="http://schemas.microsoft.com/office/drawing/2014/main" id="{6C895C77-534A-4D43-86E7-BC1A9A9957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4" name="Straight Connector 553">
                <a:extLst>
                  <a:ext uri="{FF2B5EF4-FFF2-40B4-BE49-F238E27FC236}">
                    <a16:creationId xmlns:a16="http://schemas.microsoft.com/office/drawing/2014/main" id="{A8F8DA32-D765-44CE-A93B-385AD675E3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55" name="Group 554">
                <a:extLst>
                  <a:ext uri="{FF2B5EF4-FFF2-40B4-BE49-F238E27FC236}">
                    <a16:creationId xmlns:a16="http://schemas.microsoft.com/office/drawing/2014/main" id="{67561FDD-869C-49AA-9A77-BE7BF93164B4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5BC4687C-AC0A-4F24-AD4C-24D448B11B14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7" name="Oval 566">
                  <a:extLst>
                    <a:ext uri="{FF2B5EF4-FFF2-40B4-BE49-F238E27FC236}">
                      <a16:creationId xmlns:a16="http://schemas.microsoft.com/office/drawing/2014/main" id="{C912DA9B-958C-4AEB-8886-95F98E365CE1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8" name="Oval 567">
                  <a:extLst>
                    <a:ext uri="{FF2B5EF4-FFF2-40B4-BE49-F238E27FC236}">
                      <a16:creationId xmlns:a16="http://schemas.microsoft.com/office/drawing/2014/main" id="{D97007F9-A72D-4DAD-A984-D8683B19D1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9" name="Oval 568">
                  <a:extLst>
                    <a:ext uri="{FF2B5EF4-FFF2-40B4-BE49-F238E27FC236}">
                      <a16:creationId xmlns:a16="http://schemas.microsoft.com/office/drawing/2014/main" id="{7564999C-A7F1-4F0B-A4DC-217D1D292FC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56" name="Oval 555">
                <a:extLst>
                  <a:ext uri="{FF2B5EF4-FFF2-40B4-BE49-F238E27FC236}">
                    <a16:creationId xmlns:a16="http://schemas.microsoft.com/office/drawing/2014/main" id="{D9FC74DC-27D5-4275-B714-C1127F11F3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7" name="Oval 556">
                <a:extLst>
                  <a:ext uri="{FF2B5EF4-FFF2-40B4-BE49-F238E27FC236}">
                    <a16:creationId xmlns:a16="http://schemas.microsoft.com/office/drawing/2014/main" id="{13C86B6E-F6A6-49E3-B91D-D23B878E81F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8" name="Oval 557">
                <a:extLst>
                  <a:ext uri="{FF2B5EF4-FFF2-40B4-BE49-F238E27FC236}">
                    <a16:creationId xmlns:a16="http://schemas.microsoft.com/office/drawing/2014/main" id="{C1E28E94-7B8D-4D36-970E-A98A741D05F8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9" name="Oval 558">
                <a:extLst>
                  <a:ext uri="{FF2B5EF4-FFF2-40B4-BE49-F238E27FC236}">
                    <a16:creationId xmlns:a16="http://schemas.microsoft.com/office/drawing/2014/main" id="{5463F0F1-C917-43EB-8B75-2FCC0BA9F8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0" name="Oval 559">
                <a:extLst>
                  <a:ext uri="{FF2B5EF4-FFF2-40B4-BE49-F238E27FC236}">
                    <a16:creationId xmlns:a16="http://schemas.microsoft.com/office/drawing/2014/main" id="{C9CD38FF-01A5-4855-B024-AD3664BC9F3F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1" name="Oval 560">
                <a:extLst>
                  <a:ext uri="{FF2B5EF4-FFF2-40B4-BE49-F238E27FC236}">
                    <a16:creationId xmlns:a16="http://schemas.microsoft.com/office/drawing/2014/main" id="{FCC9F4BA-4999-4FDF-8DBE-7BEEA101015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2" name="Oval 561">
                <a:extLst>
                  <a:ext uri="{FF2B5EF4-FFF2-40B4-BE49-F238E27FC236}">
                    <a16:creationId xmlns:a16="http://schemas.microsoft.com/office/drawing/2014/main" id="{A885EE63-AFAC-456B-B0C9-20ADBBCF61E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3" name="Oval 562">
                <a:extLst>
                  <a:ext uri="{FF2B5EF4-FFF2-40B4-BE49-F238E27FC236}">
                    <a16:creationId xmlns:a16="http://schemas.microsoft.com/office/drawing/2014/main" id="{DADF4997-9A43-478A-9AB5-5A72B65BBB3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4" name="Oval 563">
                <a:extLst>
                  <a:ext uri="{FF2B5EF4-FFF2-40B4-BE49-F238E27FC236}">
                    <a16:creationId xmlns:a16="http://schemas.microsoft.com/office/drawing/2014/main" id="{C80984D8-9844-4A52-BBAB-9F30593AC0E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5" name="Oval 564">
                <a:extLst>
                  <a:ext uri="{FF2B5EF4-FFF2-40B4-BE49-F238E27FC236}">
                    <a16:creationId xmlns:a16="http://schemas.microsoft.com/office/drawing/2014/main" id="{AD99AFCF-02BA-4B89-A427-CAE88E370F9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994" name="Group 993">
              <a:extLst>
                <a:ext uri="{FF2B5EF4-FFF2-40B4-BE49-F238E27FC236}">
                  <a16:creationId xmlns:a16="http://schemas.microsoft.com/office/drawing/2014/main" id="{C750DB56-4FD9-4852-98E2-910793138BBF}"/>
                </a:ext>
              </a:extLst>
            </p:cNvPr>
            <p:cNvGrpSpPr/>
            <p:nvPr/>
          </p:nvGrpSpPr>
          <p:grpSpPr>
            <a:xfrm>
              <a:off x="11237131" y="2135247"/>
              <a:ext cx="2609224" cy="643538"/>
              <a:chOff x="330424" y="3751799"/>
              <a:chExt cx="15193725" cy="3747377"/>
            </a:xfrm>
          </p:grpSpPr>
          <p:sp>
            <p:nvSpPr>
              <p:cNvPr id="995" name="Arrow: Pentagon 994">
                <a:extLst>
                  <a:ext uri="{FF2B5EF4-FFF2-40B4-BE49-F238E27FC236}">
                    <a16:creationId xmlns:a16="http://schemas.microsoft.com/office/drawing/2014/main" id="{F0689561-9198-4340-A6C7-E379B73AB7AF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96" name="Straight Connector 995">
                <a:extLst>
                  <a:ext uri="{FF2B5EF4-FFF2-40B4-BE49-F238E27FC236}">
                    <a16:creationId xmlns:a16="http://schemas.microsoft.com/office/drawing/2014/main" id="{31EAA6F5-80B6-4B22-B02D-70C90F9EDD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7" name="Straight Connector 996">
                <a:extLst>
                  <a:ext uri="{FF2B5EF4-FFF2-40B4-BE49-F238E27FC236}">
                    <a16:creationId xmlns:a16="http://schemas.microsoft.com/office/drawing/2014/main" id="{891D515E-3D28-4B30-94ED-9E17F0149D76}"/>
                  </a:ext>
                </a:extLst>
              </p:cNvPr>
              <p:cNvCxnSpPr>
                <a:cxnSpLocks/>
                <a:endCxn id="103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8" name="Straight Connector 997">
                <a:extLst>
                  <a:ext uri="{FF2B5EF4-FFF2-40B4-BE49-F238E27FC236}">
                    <a16:creationId xmlns:a16="http://schemas.microsoft.com/office/drawing/2014/main" id="{AF96CBA6-5E30-4CAC-A607-96BEB3C613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9" name="Straight Connector 998">
                <a:extLst>
                  <a:ext uri="{FF2B5EF4-FFF2-40B4-BE49-F238E27FC236}">
                    <a16:creationId xmlns:a16="http://schemas.microsoft.com/office/drawing/2014/main" id="{14D67CC4-534B-4736-A043-FED6594493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0" name="Straight Connector 999">
                <a:extLst>
                  <a:ext uri="{FF2B5EF4-FFF2-40B4-BE49-F238E27FC236}">
                    <a16:creationId xmlns:a16="http://schemas.microsoft.com/office/drawing/2014/main" id="{86D666DE-D68B-4243-8D35-F7A4A8DCCE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01" name="Oval 1000">
                <a:extLst>
                  <a:ext uri="{FF2B5EF4-FFF2-40B4-BE49-F238E27FC236}">
                    <a16:creationId xmlns:a16="http://schemas.microsoft.com/office/drawing/2014/main" id="{86D7EBFF-6828-43F1-A0AD-0A0F11ABB785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02" name="Oval 1001">
                <a:extLst>
                  <a:ext uri="{FF2B5EF4-FFF2-40B4-BE49-F238E27FC236}">
                    <a16:creationId xmlns:a16="http://schemas.microsoft.com/office/drawing/2014/main" id="{4ABAF847-4BCC-47E7-B45C-BC64C0FECCD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03" name="Straight Connector 1002">
                <a:extLst>
                  <a:ext uri="{FF2B5EF4-FFF2-40B4-BE49-F238E27FC236}">
                    <a16:creationId xmlns:a16="http://schemas.microsoft.com/office/drawing/2014/main" id="{FA23B08E-7547-4647-81FA-308940C202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4" name="Straight Connector 1003">
                <a:extLst>
                  <a:ext uri="{FF2B5EF4-FFF2-40B4-BE49-F238E27FC236}">
                    <a16:creationId xmlns:a16="http://schemas.microsoft.com/office/drawing/2014/main" id="{437EED3F-9FFF-46D3-844E-4BE5C880CB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5" name="Straight Connector 1004">
                <a:extLst>
                  <a:ext uri="{FF2B5EF4-FFF2-40B4-BE49-F238E27FC236}">
                    <a16:creationId xmlns:a16="http://schemas.microsoft.com/office/drawing/2014/main" id="{DBA36279-B4E2-4379-8B10-A1CD292EC8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6" name="Straight Connector 1005">
                <a:extLst>
                  <a:ext uri="{FF2B5EF4-FFF2-40B4-BE49-F238E27FC236}">
                    <a16:creationId xmlns:a16="http://schemas.microsoft.com/office/drawing/2014/main" id="{77ABF8FE-D51B-4E22-AA7A-5A2B6FEE0CE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7" name="Straight Connector 1006">
                <a:extLst>
                  <a:ext uri="{FF2B5EF4-FFF2-40B4-BE49-F238E27FC236}">
                    <a16:creationId xmlns:a16="http://schemas.microsoft.com/office/drawing/2014/main" id="{E40637E0-8596-4078-9AA2-414EFE81B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8" name="Straight Connector 1007">
                <a:extLst>
                  <a:ext uri="{FF2B5EF4-FFF2-40B4-BE49-F238E27FC236}">
                    <a16:creationId xmlns:a16="http://schemas.microsoft.com/office/drawing/2014/main" id="{4A4B4CDF-9508-4607-9D44-BC5EDBEEC0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9" name="Straight Connector 1008">
                <a:extLst>
                  <a:ext uri="{FF2B5EF4-FFF2-40B4-BE49-F238E27FC236}">
                    <a16:creationId xmlns:a16="http://schemas.microsoft.com/office/drawing/2014/main" id="{A68BCF02-D8E3-46E4-B94B-5C385009DF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0" name="Group 1009">
                <a:extLst>
                  <a:ext uri="{FF2B5EF4-FFF2-40B4-BE49-F238E27FC236}">
                    <a16:creationId xmlns:a16="http://schemas.microsoft.com/office/drawing/2014/main" id="{04A3AD77-8B85-49A6-8781-35389538E477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33" name="Oval 1032">
                  <a:extLst>
                    <a:ext uri="{FF2B5EF4-FFF2-40B4-BE49-F238E27FC236}">
                      <a16:creationId xmlns:a16="http://schemas.microsoft.com/office/drawing/2014/main" id="{F178FFBA-E0E4-4EF5-9561-A1883BE85BE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4" name="Oval 1033">
                  <a:extLst>
                    <a:ext uri="{FF2B5EF4-FFF2-40B4-BE49-F238E27FC236}">
                      <a16:creationId xmlns:a16="http://schemas.microsoft.com/office/drawing/2014/main" id="{33D9D8A4-B9AE-46B3-AA94-1573DD839873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5" name="Oval 1034">
                  <a:extLst>
                    <a:ext uri="{FF2B5EF4-FFF2-40B4-BE49-F238E27FC236}">
                      <a16:creationId xmlns:a16="http://schemas.microsoft.com/office/drawing/2014/main" id="{B29B0A91-4AAC-439E-BD77-36D21B77B594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6" name="Oval 1035">
                  <a:extLst>
                    <a:ext uri="{FF2B5EF4-FFF2-40B4-BE49-F238E27FC236}">
                      <a16:creationId xmlns:a16="http://schemas.microsoft.com/office/drawing/2014/main" id="{7E22C534-A9B8-4CF8-8F44-CD21617F175E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1" name="Oval 1010">
                <a:extLst>
                  <a:ext uri="{FF2B5EF4-FFF2-40B4-BE49-F238E27FC236}">
                    <a16:creationId xmlns:a16="http://schemas.microsoft.com/office/drawing/2014/main" id="{576CC208-3DCD-4D33-9621-D42569D7C2A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12" name="Straight Connector 1011">
                <a:extLst>
                  <a:ext uri="{FF2B5EF4-FFF2-40B4-BE49-F238E27FC236}">
                    <a16:creationId xmlns:a16="http://schemas.microsoft.com/office/drawing/2014/main" id="{858EB849-9BE6-4A81-BDEE-ABCE0728C0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3" name="Straight Connector 1012">
                <a:extLst>
                  <a:ext uri="{FF2B5EF4-FFF2-40B4-BE49-F238E27FC236}">
                    <a16:creationId xmlns:a16="http://schemas.microsoft.com/office/drawing/2014/main" id="{65309665-D295-4965-8EF5-3FA8B6C62B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14" name="Oval 1013">
                <a:extLst>
                  <a:ext uri="{FF2B5EF4-FFF2-40B4-BE49-F238E27FC236}">
                    <a16:creationId xmlns:a16="http://schemas.microsoft.com/office/drawing/2014/main" id="{3DBF54A8-85FE-483B-B8ED-12F06E6547A8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15" name="Oval 1014">
                <a:extLst>
                  <a:ext uri="{FF2B5EF4-FFF2-40B4-BE49-F238E27FC236}">
                    <a16:creationId xmlns:a16="http://schemas.microsoft.com/office/drawing/2014/main" id="{2570AA91-4EDA-4D26-936E-63EBF42BD7D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16" name="Straight Connector 1015">
                <a:extLst>
                  <a:ext uri="{FF2B5EF4-FFF2-40B4-BE49-F238E27FC236}">
                    <a16:creationId xmlns:a16="http://schemas.microsoft.com/office/drawing/2014/main" id="{7DF382DC-2E47-4049-B384-8B370D2C07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7" name="Straight Connector 1016">
                <a:extLst>
                  <a:ext uri="{FF2B5EF4-FFF2-40B4-BE49-F238E27FC236}">
                    <a16:creationId xmlns:a16="http://schemas.microsoft.com/office/drawing/2014/main" id="{42D40597-A25F-4B1E-97D2-D341B51093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8" name="Group 1017">
                <a:extLst>
                  <a:ext uri="{FF2B5EF4-FFF2-40B4-BE49-F238E27FC236}">
                    <a16:creationId xmlns:a16="http://schemas.microsoft.com/office/drawing/2014/main" id="{06BA71D6-0D99-4A99-8984-D1493224C3D8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29" name="Oval 1028">
                  <a:extLst>
                    <a:ext uri="{FF2B5EF4-FFF2-40B4-BE49-F238E27FC236}">
                      <a16:creationId xmlns:a16="http://schemas.microsoft.com/office/drawing/2014/main" id="{FF1F03A7-D677-40D0-9D5B-478E380020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0" name="Oval 1029">
                  <a:extLst>
                    <a:ext uri="{FF2B5EF4-FFF2-40B4-BE49-F238E27FC236}">
                      <a16:creationId xmlns:a16="http://schemas.microsoft.com/office/drawing/2014/main" id="{4D297520-FCA7-4C41-A16F-8766B4A74AD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1" name="Oval 1030">
                  <a:extLst>
                    <a:ext uri="{FF2B5EF4-FFF2-40B4-BE49-F238E27FC236}">
                      <a16:creationId xmlns:a16="http://schemas.microsoft.com/office/drawing/2014/main" id="{684016FC-1DC4-4372-923D-36050813F3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2" name="Oval 1031">
                  <a:extLst>
                    <a:ext uri="{FF2B5EF4-FFF2-40B4-BE49-F238E27FC236}">
                      <a16:creationId xmlns:a16="http://schemas.microsoft.com/office/drawing/2014/main" id="{BCC291D0-6DA3-4D5A-ADDA-2EC531D3D39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9" name="Oval 1018">
                <a:extLst>
                  <a:ext uri="{FF2B5EF4-FFF2-40B4-BE49-F238E27FC236}">
                    <a16:creationId xmlns:a16="http://schemas.microsoft.com/office/drawing/2014/main" id="{A939377C-9FD4-47F9-90A5-5122D86B1E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0" name="Oval 1019">
                <a:extLst>
                  <a:ext uri="{FF2B5EF4-FFF2-40B4-BE49-F238E27FC236}">
                    <a16:creationId xmlns:a16="http://schemas.microsoft.com/office/drawing/2014/main" id="{32504989-34AA-4DC1-92AC-86210D15CBA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1" name="Oval 1020">
                <a:extLst>
                  <a:ext uri="{FF2B5EF4-FFF2-40B4-BE49-F238E27FC236}">
                    <a16:creationId xmlns:a16="http://schemas.microsoft.com/office/drawing/2014/main" id="{C6B9F133-88BD-4D8C-9415-E51193B3AA0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2" name="Oval 1021">
                <a:extLst>
                  <a:ext uri="{FF2B5EF4-FFF2-40B4-BE49-F238E27FC236}">
                    <a16:creationId xmlns:a16="http://schemas.microsoft.com/office/drawing/2014/main" id="{73B828A6-F990-4A18-BC2D-5327D98580A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3" name="Oval 1022">
                <a:extLst>
                  <a:ext uri="{FF2B5EF4-FFF2-40B4-BE49-F238E27FC236}">
                    <a16:creationId xmlns:a16="http://schemas.microsoft.com/office/drawing/2014/main" id="{C6391F50-0861-4716-8074-697D55F12270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4" name="Oval 1023">
                <a:extLst>
                  <a:ext uri="{FF2B5EF4-FFF2-40B4-BE49-F238E27FC236}">
                    <a16:creationId xmlns:a16="http://schemas.microsoft.com/office/drawing/2014/main" id="{FB335865-085F-4EC3-92A0-7183127EE1E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5" name="Oval 1024">
                <a:extLst>
                  <a:ext uri="{FF2B5EF4-FFF2-40B4-BE49-F238E27FC236}">
                    <a16:creationId xmlns:a16="http://schemas.microsoft.com/office/drawing/2014/main" id="{85DEDE97-C266-44C0-81B6-841BD0392799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6" name="Oval 1025">
                <a:extLst>
                  <a:ext uri="{FF2B5EF4-FFF2-40B4-BE49-F238E27FC236}">
                    <a16:creationId xmlns:a16="http://schemas.microsoft.com/office/drawing/2014/main" id="{14A31B08-BC31-4950-BDE0-0B729FD60A0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7" name="Oval 1026">
                <a:extLst>
                  <a:ext uri="{FF2B5EF4-FFF2-40B4-BE49-F238E27FC236}">
                    <a16:creationId xmlns:a16="http://schemas.microsoft.com/office/drawing/2014/main" id="{C8C06565-E359-41D8-A95B-C997A525B62A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8" name="Oval 1027">
                <a:extLst>
                  <a:ext uri="{FF2B5EF4-FFF2-40B4-BE49-F238E27FC236}">
                    <a16:creationId xmlns:a16="http://schemas.microsoft.com/office/drawing/2014/main" id="{3418E4F1-F294-433E-AE19-541C55C1AFB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037" name="Group 1036">
              <a:extLst>
                <a:ext uri="{FF2B5EF4-FFF2-40B4-BE49-F238E27FC236}">
                  <a16:creationId xmlns:a16="http://schemas.microsoft.com/office/drawing/2014/main" id="{A4F97684-E800-4621-8ECB-79513BC37FBE}"/>
                </a:ext>
              </a:extLst>
            </p:cNvPr>
            <p:cNvGrpSpPr/>
            <p:nvPr/>
          </p:nvGrpSpPr>
          <p:grpSpPr>
            <a:xfrm>
              <a:off x="743839" y="6355596"/>
              <a:ext cx="2609224" cy="643538"/>
              <a:chOff x="330424" y="3751799"/>
              <a:chExt cx="15193725" cy="3747377"/>
            </a:xfrm>
          </p:grpSpPr>
          <p:sp>
            <p:nvSpPr>
              <p:cNvPr id="1038" name="Arrow: Pentagon 1037">
                <a:extLst>
                  <a:ext uri="{FF2B5EF4-FFF2-40B4-BE49-F238E27FC236}">
                    <a16:creationId xmlns:a16="http://schemas.microsoft.com/office/drawing/2014/main" id="{68CE24EE-29BB-43E2-B5CA-A0B8C57F86A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39" name="Straight Connector 1038">
                <a:extLst>
                  <a:ext uri="{FF2B5EF4-FFF2-40B4-BE49-F238E27FC236}">
                    <a16:creationId xmlns:a16="http://schemas.microsoft.com/office/drawing/2014/main" id="{4555FE43-BE3E-43E0-A506-11AF335126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8C0C5F1E-9BEB-4152-A9EC-67BFCBB7761D}"/>
                  </a:ext>
                </a:extLst>
              </p:cNvPr>
              <p:cNvCxnSpPr>
                <a:cxnSpLocks/>
                <a:endCxn id="107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1" name="Straight Connector 1040">
                <a:extLst>
                  <a:ext uri="{FF2B5EF4-FFF2-40B4-BE49-F238E27FC236}">
                    <a16:creationId xmlns:a16="http://schemas.microsoft.com/office/drawing/2014/main" id="{7AA48440-E1D4-4A1A-A428-4FFCC30E13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2" name="Straight Connector 1041">
                <a:extLst>
                  <a:ext uri="{FF2B5EF4-FFF2-40B4-BE49-F238E27FC236}">
                    <a16:creationId xmlns:a16="http://schemas.microsoft.com/office/drawing/2014/main" id="{5C24E747-970A-41DE-88C5-07E291F84B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3" name="Straight Connector 1042">
                <a:extLst>
                  <a:ext uri="{FF2B5EF4-FFF2-40B4-BE49-F238E27FC236}">
                    <a16:creationId xmlns:a16="http://schemas.microsoft.com/office/drawing/2014/main" id="{0F10DE23-44A0-4E1B-B182-D062E1EE3F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44" name="Oval 1043">
                <a:extLst>
                  <a:ext uri="{FF2B5EF4-FFF2-40B4-BE49-F238E27FC236}">
                    <a16:creationId xmlns:a16="http://schemas.microsoft.com/office/drawing/2014/main" id="{1E7104EE-149D-42AF-B55A-10E5A895254C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id="{7CE5AC40-E9B5-40E4-8F16-48FBE5924CAD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46" name="Straight Connector 1045">
                <a:extLst>
                  <a:ext uri="{FF2B5EF4-FFF2-40B4-BE49-F238E27FC236}">
                    <a16:creationId xmlns:a16="http://schemas.microsoft.com/office/drawing/2014/main" id="{A31933E5-C5A4-49E5-864D-8EED6C18A4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7" name="Straight Connector 1046">
                <a:extLst>
                  <a:ext uri="{FF2B5EF4-FFF2-40B4-BE49-F238E27FC236}">
                    <a16:creationId xmlns:a16="http://schemas.microsoft.com/office/drawing/2014/main" id="{529E9993-F2F6-427F-B212-24585AEB29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8" name="Straight Connector 1047">
                <a:extLst>
                  <a:ext uri="{FF2B5EF4-FFF2-40B4-BE49-F238E27FC236}">
                    <a16:creationId xmlns:a16="http://schemas.microsoft.com/office/drawing/2014/main" id="{7F6D6A2D-06DF-4B23-9264-84ADD2B5F0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9" name="Straight Connector 1048">
                <a:extLst>
                  <a:ext uri="{FF2B5EF4-FFF2-40B4-BE49-F238E27FC236}">
                    <a16:creationId xmlns:a16="http://schemas.microsoft.com/office/drawing/2014/main" id="{62A02F9C-4C29-46DD-A313-10F19D2D71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0" name="Straight Connector 1049">
                <a:extLst>
                  <a:ext uri="{FF2B5EF4-FFF2-40B4-BE49-F238E27FC236}">
                    <a16:creationId xmlns:a16="http://schemas.microsoft.com/office/drawing/2014/main" id="{D228F142-A702-4140-BF16-B131491A1B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1" name="Straight Connector 1050">
                <a:extLst>
                  <a:ext uri="{FF2B5EF4-FFF2-40B4-BE49-F238E27FC236}">
                    <a16:creationId xmlns:a16="http://schemas.microsoft.com/office/drawing/2014/main" id="{485912D0-6A79-4916-B795-DAC4724B38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2" name="Straight Connector 1051">
                <a:extLst>
                  <a:ext uri="{FF2B5EF4-FFF2-40B4-BE49-F238E27FC236}">
                    <a16:creationId xmlns:a16="http://schemas.microsoft.com/office/drawing/2014/main" id="{B0EE7D77-D636-431A-B219-F36F4D0FC2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3" name="Group 1052">
                <a:extLst>
                  <a:ext uri="{FF2B5EF4-FFF2-40B4-BE49-F238E27FC236}">
                    <a16:creationId xmlns:a16="http://schemas.microsoft.com/office/drawing/2014/main" id="{198F16D1-A7FA-462A-9403-01A6A763C99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76" name="Oval 1075">
                  <a:extLst>
                    <a:ext uri="{FF2B5EF4-FFF2-40B4-BE49-F238E27FC236}">
                      <a16:creationId xmlns:a16="http://schemas.microsoft.com/office/drawing/2014/main" id="{03203DAF-1446-4CE6-A0E3-519339BB6E3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7" name="Oval 1076">
                  <a:extLst>
                    <a:ext uri="{FF2B5EF4-FFF2-40B4-BE49-F238E27FC236}">
                      <a16:creationId xmlns:a16="http://schemas.microsoft.com/office/drawing/2014/main" id="{92C31502-D7C1-4FC4-A9A5-E5438960CCF5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8" name="Oval 1077">
                  <a:extLst>
                    <a:ext uri="{FF2B5EF4-FFF2-40B4-BE49-F238E27FC236}">
                      <a16:creationId xmlns:a16="http://schemas.microsoft.com/office/drawing/2014/main" id="{60FBA64F-22E9-4124-928E-0479B368288E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9" name="Oval 1078">
                  <a:extLst>
                    <a:ext uri="{FF2B5EF4-FFF2-40B4-BE49-F238E27FC236}">
                      <a16:creationId xmlns:a16="http://schemas.microsoft.com/office/drawing/2014/main" id="{A3E028BB-ED01-4A63-8D42-9A5BFAE804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54" name="Oval 1053">
                <a:extLst>
                  <a:ext uri="{FF2B5EF4-FFF2-40B4-BE49-F238E27FC236}">
                    <a16:creationId xmlns:a16="http://schemas.microsoft.com/office/drawing/2014/main" id="{498B6378-1CE0-4BC7-8C0F-385D7159534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55" name="Straight Connector 1054">
                <a:extLst>
                  <a:ext uri="{FF2B5EF4-FFF2-40B4-BE49-F238E27FC236}">
                    <a16:creationId xmlns:a16="http://schemas.microsoft.com/office/drawing/2014/main" id="{0971A626-8942-405A-9598-F84B17537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6" name="Straight Connector 1055">
                <a:extLst>
                  <a:ext uri="{FF2B5EF4-FFF2-40B4-BE49-F238E27FC236}">
                    <a16:creationId xmlns:a16="http://schemas.microsoft.com/office/drawing/2014/main" id="{D3102804-52F5-4E74-9821-83A14FDE9B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57" name="Oval 1056">
                <a:extLst>
                  <a:ext uri="{FF2B5EF4-FFF2-40B4-BE49-F238E27FC236}">
                    <a16:creationId xmlns:a16="http://schemas.microsoft.com/office/drawing/2014/main" id="{AB273E9A-2044-4DA3-B540-85B727524A4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58" name="Oval 1057">
                <a:extLst>
                  <a:ext uri="{FF2B5EF4-FFF2-40B4-BE49-F238E27FC236}">
                    <a16:creationId xmlns:a16="http://schemas.microsoft.com/office/drawing/2014/main" id="{15D9076A-23B9-4DA5-9749-738589467CA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59" name="Straight Connector 1058">
                <a:extLst>
                  <a:ext uri="{FF2B5EF4-FFF2-40B4-BE49-F238E27FC236}">
                    <a16:creationId xmlns:a16="http://schemas.microsoft.com/office/drawing/2014/main" id="{0F294B17-8B69-4DE8-8443-E9DE430165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60" name="Straight Connector 1059">
                <a:extLst>
                  <a:ext uri="{FF2B5EF4-FFF2-40B4-BE49-F238E27FC236}">
                    <a16:creationId xmlns:a16="http://schemas.microsoft.com/office/drawing/2014/main" id="{B6803F81-FEE3-40B9-8021-BA4454C5C9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E7679D80-E8A7-43CB-82F5-ACDE8F4B7AA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72" name="Oval 1071">
                  <a:extLst>
                    <a:ext uri="{FF2B5EF4-FFF2-40B4-BE49-F238E27FC236}">
                      <a16:creationId xmlns:a16="http://schemas.microsoft.com/office/drawing/2014/main" id="{7BE89B88-BF88-416B-B472-DDF863A3C39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3" name="Oval 1072">
                  <a:extLst>
                    <a:ext uri="{FF2B5EF4-FFF2-40B4-BE49-F238E27FC236}">
                      <a16:creationId xmlns:a16="http://schemas.microsoft.com/office/drawing/2014/main" id="{AE99BA46-9866-4F5F-8795-2C50CF509F2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4" name="Oval 1073">
                  <a:extLst>
                    <a:ext uri="{FF2B5EF4-FFF2-40B4-BE49-F238E27FC236}">
                      <a16:creationId xmlns:a16="http://schemas.microsoft.com/office/drawing/2014/main" id="{1D65918B-BC0D-42D8-9FC0-6E40A07C54F8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5" name="Oval 1074">
                  <a:extLst>
                    <a:ext uri="{FF2B5EF4-FFF2-40B4-BE49-F238E27FC236}">
                      <a16:creationId xmlns:a16="http://schemas.microsoft.com/office/drawing/2014/main" id="{64693E27-AC75-43CE-9767-31D2265E93C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2" name="Oval 1061">
                <a:extLst>
                  <a:ext uri="{FF2B5EF4-FFF2-40B4-BE49-F238E27FC236}">
                    <a16:creationId xmlns:a16="http://schemas.microsoft.com/office/drawing/2014/main" id="{7D854E29-DE5B-4D23-A7F4-089805F4B40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3" name="Oval 1062">
                <a:extLst>
                  <a:ext uri="{FF2B5EF4-FFF2-40B4-BE49-F238E27FC236}">
                    <a16:creationId xmlns:a16="http://schemas.microsoft.com/office/drawing/2014/main" id="{19C12530-ADAE-42F3-BF96-6E2F797FFA21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4" name="Oval 1063">
                <a:extLst>
                  <a:ext uri="{FF2B5EF4-FFF2-40B4-BE49-F238E27FC236}">
                    <a16:creationId xmlns:a16="http://schemas.microsoft.com/office/drawing/2014/main" id="{AD7F837C-BDAC-4356-ACFD-D5435ED1C8BC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5" name="Oval 1064">
                <a:extLst>
                  <a:ext uri="{FF2B5EF4-FFF2-40B4-BE49-F238E27FC236}">
                    <a16:creationId xmlns:a16="http://schemas.microsoft.com/office/drawing/2014/main" id="{199E57B7-A7E3-41F8-BB3C-E75DC038F1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6" name="Oval 1065">
                <a:extLst>
                  <a:ext uri="{FF2B5EF4-FFF2-40B4-BE49-F238E27FC236}">
                    <a16:creationId xmlns:a16="http://schemas.microsoft.com/office/drawing/2014/main" id="{C0C115DF-6D28-4603-903A-065A4F27245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7" name="Oval 1066">
                <a:extLst>
                  <a:ext uri="{FF2B5EF4-FFF2-40B4-BE49-F238E27FC236}">
                    <a16:creationId xmlns:a16="http://schemas.microsoft.com/office/drawing/2014/main" id="{A2A8E2DC-8965-4DB3-B9E3-3CB8F09EA65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8" name="Oval 1067">
                <a:extLst>
                  <a:ext uri="{FF2B5EF4-FFF2-40B4-BE49-F238E27FC236}">
                    <a16:creationId xmlns:a16="http://schemas.microsoft.com/office/drawing/2014/main" id="{1F91E05F-AEEA-4931-A23F-17FF2141927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9" name="Oval 1068">
                <a:extLst>
                  <a:ext uri="{FF2B5EF4-FFF2-40B4-BE49-F238E27FC236}">
                    <a16:creationId xmlns:a16="http://schemas.microsoft.com/office/drawing/2014/main" id="{F7905202-7472-4C01-A9F2-01AF9049F6C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0" name="Oval 1069">
                <a:extLst>
                  <a:ext uri="{FF2B5EF4-FFF2-40B4-BE49-F238E27FC236}">
                    <a16:creationId xmlns:a16="http://schemas.microsoft.com/office/drawing/2014/main" id="{2C65D2E9-12CD-4C44-B667-48D56BA4A2F3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1" name="Oval 1070">
                <a:extLst>
                  <a:ext uri="{FF2B5EF4-FFF2-40B4-BE49-F238E27FC236}">
                    <a16:creationId xmlns:a16="http://schemas.microsoft.com/office/drawing/2014/main" id="{27EC1BE1-5AFB-421A-A333-18202096FE8F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582</TotalTime>
  <Words>1297</Words>
  <Application>Microsoft Office PowerPoint</Application>
  <PresentationFormat>Custom</PresentationFormat>
  <Paragraphs>263</Paragraphs>
  <Slides>18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Metric Bold</vt:lpstr>
      <vt:lpstr>Metric Regular</vt:lpstr>
      <vt:lpstr>Wingdings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8-10-29T09:41:06Z</dcterms:modified>
  <cp:category/>
</cp:coreProperties>
</file>